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7"/>
  </p:notesMasterIdLst>
  <p:sldIdLst>
    <p:sldId id="259" r:id="rId2"/>
    <p:sldId id="1109" r:id="rId3"/>
    <p:sldId id="2147472464" r:id="rId4"/>
    <p:sldId id="2147472465" r:id="rId5"/>
    <p:sldId id="2147472466" r:id="rId6"/>
    <p:sldId id="2147472462" r:id="rId7"/>
    <p:sldId id="2147472453" r:id="rId8"/>
    <p:sldId id="2147472454" r:id="rId9"/>
    <p:sldId id="2147472468" r:id="rId10"/>
    <p:sldId id="2147472456" r:id="rId11"/>
    <p:sldId id="2147472475" r:id="rId12"/>
    <p:sldId id="2147472474" r:id="rId13"/>
    <p:sldId id="2147472470" r:id="rId14"/>
    <p:sldId id="2147472457" r:id="rId15"/>
    <p:sldId id="2147472459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388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3822E82-B1D3-7774-25E5-C9A15AED17E0}" name="Ran, Xinhui" initials="XR" userId="S::xran@bwh.harvard.edu::97ed12d3-af85-4994-89a6-7fcfe7c8a981" providerId="AD"/>
  <p188:author id="{2E650E8F-ABED-DAB9-94AB-EA70467EDE30}" name="Marc Sabatine" initials="MS" userId="ab9960db4cd9a490" providerId="Windows Live"/>
  <p188:author id="{3D91CFC1-CFC1-D5AE-EC24-9A0BD70CF905}" name="Kang, Yu Mi,MD, PhD" initials="YK" userId="S::YMKANG@BWH.HARVARD.EDU::c44a8d97-9894-4d96-9c9d-207a0d2ed5f4" providerId="AD"/>
  <p188:author id="{CC9782D8-DFF1-23D7-1080-3C506B66ABF5}" name="Bergmark, Brian A.,MD" initials="BBA" userId="S::bbergmark@bwh.harvard.edu::f3c73858-3d3b-4308-b6f2-7fbbfcab4ec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0D72"/>
    <a:srgbClr val="1E1EFF"/>
    <a:srgbClr val="000000"/>
    <a:srgbClr val="5C068A"/>
    <a:srgbClr val="FF00FF"/>
    <a:srgbClr val="F2A2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밝은 스타일 2 - 강조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밝은 스타일 1 - 강조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밝은 스타일 1 - 강조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102" autoAdjust="0"/>
    <p:restoredTop sz="83658" autoAdjust="0"/>
  </p:normalViewPr>
  <p:slideViewPr>
    <p:cSldViewPr snapToGrid="0" snapToObjects="1">
      <p:cViewPr varScale="1">
        <p:scale>
          <a:sx n="93" d="100"/>
          <a:sy n="93" d="100"/>
        </p:scale>
        <p:origin x="918" y="90"/>
      </p:cViewPr>
      <p:guideLst>
        <p:guide orient="horz" pos="2112"/>
        <p:guide pos="388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F76543-5EF1-DA4A-8415-0A3EFD492F07}" type="datetimeFigureOut">
              <a:rPr lang="en-US" smtClean="0"/>
              <a:t>6/9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6A62D3-769D-F349-A3F8-B6F214D63D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55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0 min presentation; 5 min Q&amp;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0603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CCD485-4816-0BEC-7892-D8122A781C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979B6D-0F7E-A2B5-982F-784790C5D5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CCD3F2-8CCD-A884-A433-900662A154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9D1871-EDD3-AFBC-B2FA-86CE6DA8CC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9787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1F7CE1-A5F7-3651-191E-6248DB5EC6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A77DFA-4F9B-DB12-94FB-CFA67F54AE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2D89BF-82F7-220C-6764-4864D50D35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EAE269-AC98-3F06-ED5E-99E1D0944E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9781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5D2DD-3769-B849-5128-BD853B98E3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E79218-83B3-400C-AA9B-4406AE0B08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C45DA0A-F241-C6A0-ECD7-1A2A28DDB2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0EA4B3-03F0-8BDB-C0FD-F345D0D0ED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7752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C99197-6586-7B64-8C81-67AEF644C8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EB9D878-686A-E650-56FD-E6FA48BADB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F4AD58-22FA-E57A-EB4B-B508220A9C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E1D38-ED70-1AEC-B281-0091ED226E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8091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9526AA-4B8B-D49E-5C7B-85108F022F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91E296-83ED-B599-5DDC-AA48AA920F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89C5EC-7DC1-CE47-CA43-5E4871443B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5E053C-B485-C44A-ABE2-F6A2B09C69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421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F8FDA2-47B1-BF17-8006-171B618F9C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ECEEB4E-5FE3-4C7E-FBFD-173D05310D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E99EECA-D187-BCCF-7C77-15823CF8A1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93F8FB-0FEE-A2AA-F705-1BBA5F2CE0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2375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953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206FEE-9B5E-8DED-A233-844022CDF8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1D1F2F-B5A3-3758-E000-B8B7056D2F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3A37825-03FF-874B-7961-A15344D950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747C8A-B3DC-A1D9-9A05-53783C0065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5287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820DEB-2F36-EB44-34BC-20AB7A04AC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CA683A3-6B52-2F49-7D22-5A2179545F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1AF79F-D3F8-C550-C87A-B144135F20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57E50D-16BF-5AE9-FDF8-D4D72CD039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37530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6B5FE8-15A0-C83B-97C5-57CE1CC059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86C05F-3205-0D40-0EE2-8E4B4A39D4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CE83CD9-F3E6-7C5E-7209-0E68E6A35C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896704-A53E-02F3-43DC-465CAA0090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49754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0CDD6B-670F-B5D2-865C-9135AA651D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7436256-3432-032F-E572-CDFC7D4B28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070441-5954-C17F-33FF-AA392C5B92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07A295-504E-EB2D-E999-21FA567F350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16067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7430CA-1E92-9ED7-9BBB-602F39F575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1611E2-CDC7-B826-892A-9EA7F05AD7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49B731-08B9-2CAD-674A-CCE64E0741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D3490A-601C-5DB0-2887-4E36CAFC43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4283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D17DD7-2128-E25D-5E4B-99FC05455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D7437B-8109-15E1-63F5-9F89327E54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4D52CF-28AC-3285-47FF-3A3E542B05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932BB6-278D-65C4-12CE-85441A714F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4083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657E79-4F49-B330-5A0A-E9506E09A1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9DCF159-C61D-D008-6F6F-74DE74DF79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766C225-DC9A-4454-DFEC-E61B1F02E4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AE009F-30FC-B495-5D35-C7E35146E7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72107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 dirty="0"/>
              <a:t>Presenter or subtitle 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1106424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6722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5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302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38065379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1801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5692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338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038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344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059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049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295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973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120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1762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  <a:endParaRPr lang="en-US" dirty="0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454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812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30" imgH="531" progId="TCLayout.ActiveDocument.1">
                  <p:embed/>
                </p:oleObj>
              </mc:Choice>
              <mc:Fallback>
                <p:oleObj name="think-cell Slide" r:id="rId19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496F443-CBC9-D942-BCF6-03ABB20B2848}"/>
              </a:ext>
            </a:extLst>
          </p:cNvPr>
          <p:cNvSpPr/>
          <p:nvPr userDrawn="1"/>
        </p:nvSpPr>
        <p:spPr>
          <a:xfrm>
            <a:off x="640080" y="6246683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976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6.png"/><Relationship Id="rId11" Type="http://schemas.openxmlformats.org/officeDocument/2006/relationships/image" Target="../media/image8.png"/><Relationship Id="rId5" Type="http://schemas.openxmlformats.org/officeDocument/2006/relationships/image" Target="../media/image15.png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emf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8.emf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emf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9.emf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0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10" Type="http://schemas.openxmlformats.org/officeDocument/2006/relationships/hyperlink" Target="http://www.timi.org/" TargetMode="External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.jpe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5.emf"/><Relationship Id="rId11" Type="http://schemas.openxmlformats.org/officeDocument/2006/relationships/image" Target="../media/image12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1.emf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3.emf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6E1632-2C72-4FA8-B018-1E63E54484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6446" y="1945259"/>
            <a:ext cx="10476265" cy="1483741"/>
          </a:xfrm>
        </p:spPr>
        <p:txBody>
          <a:bodyPr>
            <a:noAutofit/>
          </a:bodyPr>
          <a:lstStyle/>
          <a:p>
            <a:endParaRPr lang="en-US" sz="2800" i="1" dirty="0">
              <a:latin typeface="+mn-lt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2C1933-575E-314E-A8C0-02AE388116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76445" y="3649183"/>
            <a:ext cx="10289893" cy="1965639"/>
          </a:xfrm>
        </p:spPr>
        <p:txBody>
          <a:bodyPr/>
          <a:lstStyle/>
          <a:p>
            <a:r>
              <a:rPr lang="en-US" sz="1800" b="1" dirty="0"/>
              <a:t>Yu Mi Kang, </a:t>
            </a:r>
            <a:r>
              <a:rPr lang="en-US" sz="1800" dirty="0"/>
              <a:t>Nicholas A. Marston, Veronica J. Alexander, Thomas A. Prohaska, </a:t>
            </a:r>
            <a:r>
              <a:rPr lang="en-US" sz="1800" dirty="0" err="1"/>
              <a:t>Xinhui</a:t>
            </a:r>
            <a:r>
              <a:rPr lang="en-US" sz="1800" dirty="0"/>
              <a:t> Ran, Sabina A. Murphy, Erica L. Goodrich, Filipe A. Moura, Andre Zimerman, Elaine Waldman, Julia Weinland, </a:t>
            </a:r>
            <a:r>
              <a:rPr lang="en-US" sz="1800" dirty="0" err="1"/>
              <a:t>Shuanglu</a:t>
            </a:r>
            <a:r>
              <a:rPr lang="en-US" sz="1800" dirty="0"/>
              <a:t> Zhang, </a:t>
            </a:r>
          </a:p>
          <a:p>
            <a:r>
              <a:rPr lang="en-US" sz="1800" dirty="0" err="1"/>
              <a:t>Shuting</a:t>
            </a:r>
            <a:r>
              <a:rPr lang="en-US" sz="1800" dirty="0"/>
              <a:t> Xia, Dan Li, Sotirios </a:t>
            </a:r>
            <a:r>
              <a:rPr lang="en-US" sz="1800" dirty="0" err="1"/>
              <a:t>Tsimikas</a:t>
            </a:r>
            <a:r>
              <a:rPr lang="en-US" sz="1800" dirty="0"/>
              <a:t>, Marc S. Sabatine, Robert P. Giugliano, Brian A. Bergmark</a:t>
            </a:r>
          </a:p>
          <a:p>
            <a:endParaRPr lang="en-US" sz="1600" dirty="0"/>
          </a:p>
          <a:p>
            <a:r>
              <a:rPr lang="en-US" sz="1800" i="1" dirty="0"/>
              <a:t>On Behalf of the CORE-TIMI 72a and CORE2-TIMI 72b Investigato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4301BD-529D-C343-84D0-3959DCD26A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76445" y="5797666"/>
            <a:ext cx="1832218" cy="243349"/>
          </a:xfrm>
        </p:spPr>
        <p:txBody>
          <a:bodyPr/>
          <a:lstStyle/>
          <a:p>
            <a:r>
              <a:rPr lang="en-US" sz="1800" b="1" dirty="0"/>
              <a:t>June 6, 2026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6C41B36-1A4F-A8AD-FCCB-9C5C3CF399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2992" y="1070517"/>
            <a:ext cx="3339360" cy="840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0763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729419-F29D-D643-C61A-1042736AF7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graph with numbers and a line graph&#10;&#10;AI-generated content may be incorrect.">
            <a:extLst>
              <a:ext uri="{FF2B5EF4-FFF2-40B4-BE49-F238E27FC236}">
                <a16:creationId xmlns:a16="http://schemas.microsoft.com/office/drawing/2014/main" id="{C6E2A863-A455-E827-59CD-E0125437D85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4277" t="31078" b="16547"/>
          <a:stretch>
            <a:fillRect/>
          </a:stretch>
        </p:blipFill>
        <p:spPr>
          <a:xfrm>
            <a:off x="320775" y="2395532"/>
            <a:ext cx="5841403" cy="2876514"/>
          </a:xfrm>
          <a:prstGeom prst="rect">
            <a:avLst/>
          </a:prstGeom>
        </p:spPr>
      </p:pic>
      <p:pic>
        <p:nvPicPr>
          <p:cNvPr id="18" name="Picture 17" descr="A graph with numbers and a line&#10;&#10;AI-generated content may be incorrect.">
            <a:extLst>
              <a:ext uri="{FF2B5EF4-FFF2-40B4-BE49-F238E27FC236}">
                <a16:creationId xmlns:a16="http://schemas.microsoft.com/office/drawing/2014/main" id="{75695E5D-899B-8222-E3E6-1D46FBE4228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6845" t="31078" b="16547"/>
          <a:stretch>
            <a:fillRect/>
          </a:stretch>
        </p:blipFill>
        <p:spPr>
          <a:xfrm>
            <a:off x="6433337" y="2388120"/>
            <a:ext cx="5684710" cy="2876514"/>
          </a:xfrm>
          <a:prstGeom prst="rect">
            <a:avLst/>
          </a:prstGeom>
        </p:spPr>
      </p:pic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0658E10-FD3A-0C20-72C7-5155DAF233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A4369A69-F278-F453-BCAC-AAAB62B52E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F698579-3710-454A-AAD0-BDC4CDEE77C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6B76D8-077B-31FC-20CE-C71C15876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49" y="523875"/>
            <a:ext cx="11123187" cy="956516"/>
          </a:xfrm>
        </p:spPr>
        <p:txBody>
          <a:bodyPr/>
          <a:lstStyle/>
          <a:p>
            <a:r>
              <a:rPr lang="en-US" dirty="0"/>
              <a:t>Efficacy of Olezarsen in Acute Pancreatitis Prevention</a:t>
            </a:r>
            <a:br>
              <a:rPr lang="en-US" dirty="0"/>
            </a:br>
            <a:r>
              <a:rPr lang="en-US" sz="2000" i="1" dirty="0">
                <a:solidFill>
                  <a:schemeClr val="bg2"/>
                </a:solidFill>
              </a:rPr>
              <a:t>Total event analysis over 12 months, pooled olezarsen</a:t>
            </a:r>
            <a:endParaRPr lang="en-US" sz="20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6C99E32-3922-1541-57A1-FC2D8189DB5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069" r="96330" b="39708"/>
          <a:stretch>
            <a:fillRect/>
          </a:stretch>
        </p:blipFill>
        <p:spPr>
          <a:xfrm>
            <a:off x="194218" y="2470618"/>
            <a:ext cx="282684" cy="2580738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5DE2427-0C39-6844-E990-CA879A1A5773}"/>
              </a:ext>
            </a:extLst>
          </p:cNvPr>
          <p:cNvSpPr txBox="1"/>
          <p:nvPr/>
        </p:nvSpPr>
        <p:spPr>
          <a:xfrm>
            <a:off x="977559" y="5430736"/>
            <a:ext cx="10869884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Abbreviations: ARR, absolute rate reduction; CI, confidence interval; NNT, number needed to treat</a:t>
            </a:r>
          </a:p>
          <a:p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P for log-rank &lt;0.01 for both graph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00DB8C9-1BF7-6F2D-ECA8-6278648A7BB8}"/>
              </a:ext>
            </a:extLst>
          </p:cNvPr>
          <p:cNvGrpSpPr/>
          <p:nvPr/>
        </p:nvGrpSpPr>
        <p:grpSpPr>
          <a:xfrm>
            <a:off x="10904394" y="249888"/>
            <a:ext cx="704022" cy="363195"/>
            <a:chOff x="2608796" y="637665"/>
            <a:chExt cx="919922" cy="492924"/>
          </a:xfrm>
        </p:grpSpPr>
        <p:pic>
          <p:nvPicPr>
            <p:cNvPr id="22" name="Picture 21" descr="A logo with a letter and a swirly design&#10;&#10;AI-generated content may be incorrect.">
              <a:extLst>
                <a:ext uri="{FF2B5EF4-FFF2-40B4-BE49-F238E27FC236}">
                  <a16:creationId xmlns:a16="http://schemas.microsoft.com/office/drawing/2014/main" id="{E5C68ECA-89E7-1F09-122C-0AC3C88DFE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608796" y="889066"/>
              <a:ext cx="919922" cy="241523"/>
            </a:xfrm>
            <a:prstGeom prst="rect">
              <a:avLst/>
            </a:prstGeom>
          </p:spPr>
        </p:pic>
        <p:pic>
          <p:nvPicPr>
            <p:cNvPr id="23" name="Picture 2">
              <a:extLst>
                <a:ext uri="{FF2B5EF4-FFF2-40B4-BE49-F238E27FC236}">
                  <a16:creationId xmlns:a16="http://schemas.microsoft.com/office/drawing/2014/main" id="{B684B918-8FC7-1C52-A3E2-43D107C3AE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>
            <a:xfrm>
              <a:off x="2621984" y="637665"/>
              <a:ext cx="768676" cy="219905"/>
            </a:xfrm>
            <a:prstGeom prst="rect">
              <a:avLst/>
            </a:prstGeom>
          </p:spPr>
        </p:pic>
      </p:grpSp>
      <p:pic>
        <p:nvPicPr>
          <p:cNvPr id="24" name="Picture Placeholder 7" descr="A red and black logo&#10;&#10;AI-generated content may be incorrect.">
            <a:extLst>
              <a:ext uri="{FF2B5EF4-FFF2-40B4-BE49-F238E27FC236}">
                <a16:creationId xmlns:a16="http://schemas.microsoft.com/office/drawing/2014/main" id="{31E60EC6-54DE-7F21-AAD7-BBDCF058C3F9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l="-20638" t="-6021" r="-23377" b="-2381"/>
          <a:stretch>
            <a:fillRect/>
          </a:stretch>
        </p:blipFill>
        <p:spPr>
          <a:xfrm>
            <a:off x="11550650" y="6906"/>
            <a:ext cx="556760" cy="6869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F6C5DF8-AE8B-51A7-959E-72C57F27691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069" r="96330" b="39708"/>
          <a:stretch>
            <a:fillRect/>
          </a:stretch>
        </p:blipFill>
        <p:spPr>
          <a:xfrm>
            <a:off x="6150902" y="2460191"/>
            <a:ext cx="282684" cy="258073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42D802C-18AC-8C37-D9E8-193B5324923B}"/>
              </a:ext>
            </a:extLst>
          </p:cNvPr>
          <p:cNvSpPr txBox="1"/>
          <p:nvPr/>
        </p:nvSpPr>
        <p:spPr>
          <a:xfrm>
            <a:off x="3170392" y="1646050"/>
            <a:ext cx="543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188E29-2B36-4EB0-59AD-D27F87B31F62}"/>
              </a:ext>
            </a:extLst>
          </p:cNvPr>
          <p:cNvSpPr txBox="1"/>
          <p:nvPr/>
        </p:nvSpPr>
        <p:spPr>
          <a:xfrm>
            <a:off x="8938406" y="1656781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No D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646A957-9421-23B8-0791-1BE526C31683}"/>
              </a:ext>
            </a:extLst>
          </p:cNvPr>
          <p:cNvSpPr txBox="1"/>
          <p:nvPr/>
        </p:nvSpPr>
        <p:spPr>
          <a:xfrm>
            <a:off x="848352" y="2739616"/>
            <a:ext cx="414728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R = 6.6% </a:t>
            </a:r>
            <a:r>
              <a:rPr lang="en-US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NT = 16)</a:t>
            </a:r>
          </a:p>
          <a:p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te ratio = 0.19 (0.07-0.56), </a:t>
            </a:r>
            <a:r>
              <a:rPr lang="en-US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&lt;0.00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64E969-E899-A54A-4FF0-B81AE11B3073}"/>
              </a:ext>
            </a:extLst>
          </p:cNvPr>
          <p:cNvSpPr txBox="1"/>
          <p:nvPr/>
        </p:nvSpPr>
        <p:spPr>
          <a:xfrm>
            <a:off x="6751013" y="2739615"/>
            <a:ext cx="26811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R = 3.0% </a:t>
            </a:r>
            <a:r>
              <a:rPr lang="en-US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NT = 33)</a:t>
            </a:r>
          </a:p>
          <a:p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te ratio = N/A</a:t>
            </a:r>
          </a:p>
        </p:txBody>
      </p:sp>
      <p:pic>
        <p:nvPicPr>
          <p:cNvPr id="19" name="Picture 18" descr="A graph with numbers and a line graph&#10;&#10;AI-generated content may be incorrect.">
            <a:extLst>
              <a:ext uri="{FF2B5EF4-FFF2-40B4-BE49-F238E27FC236}">
                <a16:creationId xmlns:a16="http://schemas.microsoft.com/office/drawing/2014/main" id="{69758714-2A67-3BDB-CE31-1CA03E0F361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42924" t="5272" r="31423" b="90767"/>
          <a:stretch>
            <a:fillRect/>
          </a:stretch>
        </p:blipFill>
        <p:spPr>
          <a:xfrm>
            <a:off x="2250922" y="2260414"/>
            <a:ext cx="2382678" cy="331051"/>
          </a:xfrm>
          <a:prstGeom prst="rect">
            <a:avLst/>
          </a:prstGeom>
        </p:spPr>
      </p:pic>
      <p:pic>
        <p:nvPicPr>
          <p:cNvPr id="25" name="Picture 24" descr="A graph with numbers and a line graph&#10;&#10;AI-generated content may be incorrect.">
            <a:extLst>
              <a:ext uri="{FF2B5EF4-FFF2-40B4-BE49-F238E27FC236}">
                <a16:creationId xmlns:a16="http://schemas.microsoft.com/office/drawing/2014/main" id="{259E7001-3D2A-45A1-CF7A-057651B3D5A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42924" t="5272" r="31423" b="90767"/>
          <a:stretch>
            <a:fillRect/>
          </a:stretch>
        </p:blipFill>
        <p:spPr>
          <a:xfrm>
            <a:off x="7942276" y="2258655"/>
            <a:ext cx="2382678" cy="331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0357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50ED62-4527-248D-1E85-2DDA00417C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6689B97C-4F8F-61F9-B7FB-133684753C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5314" y="1401417"/>
            <a:ext cx="10853815" cy="5426908"/>
          </a:xfrm>
          <a:prstGeom prst="rect">
            <a:avLst/>
          </a:prstGeom>
        </p:spPr>
      </p:pic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93501EE-DB2A-A0D9-7F0B-2494C3FB5D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C5050571-6D3C-BF16-DCC7-182D41E6E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420344FF-96FC-6051-3096-B4CA3C4AAC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730ED5-592A-3C19-52A8-A8A54D4D8C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ycemic Impact of Olezarsen by DM Status</a:t>
            </a:r>
            <a:br>
              <a:rPr lang="en-US" dirty="0"/>
            </a:br>
            <a:r>
              <a:rPr lang="en-US" sz="2000" i="1" dirty="0">
                <a:solidFill>
                  <a:schemeClr val="bg2"/>
                </a:solidFill>
              </a:rPr>
              <a:t>HbA1c, pooled olezarse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F64907D-F534-6E56-D0DC-D77D7ED1A703}"/>
              </a:ext>
            </a:extLst>
          </p:cNvPr>
          <p:cNvSpPr txBox="1"/>
          <p:nvPr/>
        </p:nvSpPr>
        <p:spPr>
          <a:xfrm>
            <a:off x="5304359" y="3079283"/>
            <a:ext cx="23246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BO-adjusted LSM 𝚫: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0.26% (95% CI 0.10-0.43)*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2C81AA-841D-7A4A-4F8E-EDB2414B3C38}"/>
              </a:ext>
            </a:extLst>
          </p:cNvPr>
          <p:cNvSpPr txBox="1"/>
          <p:nvPr/>
        </p:nvSpPr>
        <p:spPr>
          <a:xfrm>
            <a:off x="3901914" y="3928533"/>
            <a:ext cx="51295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BO-adjusted LSM 𝚫: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0.13% (95% CI 0.07-0.19)*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B6BBCB6-5D10-04F4-EB29-8E11ED0063A2}"/>
              </a:ext>
            </a:extLst>
          </p:cNvPr>
          <p:cNvSpPr txBox="1"/>
          <p:nvPr/>
        </p:nvSpPr>
        <p:spPr>
          <a:xfrm>
            <a:off x="1471962" y="6215653"/>
            <a:ext cx="943393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stimates at each time point are presented as medians, with error bars indicating 95% confidence intervals</a:t>
            </a:r>
            <a:r>
              <a:rPr lang="en-US" sz="14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 *P&lt;0.01</a:t>
            </a:r>
          </a:p>
          <a:p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Abbreviation: LSM, least-squares mean; PEP, primary endpoint; PBO, placebo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DFA59A3-FB0F-66BF-CEAA-D395ADC86DA4}"/>
              </a:ext>
            </a:extLst>
          </p:cNvPr>
          <p:cNvGrpSpPr/>
          <p:nvPr/>
        </p:nvGrpSpPr>
        <p:grpSpPr>
          <a:xfrm>
            <a:off x="10904394" y="249888"/>
            <a:ext cx="704022" cy="363195"/>
            <a:chOff x="2608796" y="637665"/>
            <a:chExt cx="919922" cy="492924"/>
          </a:xfrm>
        </p:grpSpPr>
        <p:pic>
          <p:nvPicPr>
            <p:cNvPr id="17" name="Picture 16" descr="A logo with a letter and a swirly design&#10;&#10;AI-generated content may be incorrect.">
              <a:extLst>
                <a:ext uri="{FF2B5EF4-FFF2-40B4-BE49-F238E27FC236}">
                  <a16:creationId xmlns:a16="http://schemas.microsoft.com/office/drawing/2014/main" id="{051701FA-C9DE-68D4-C41F-F2F8545054D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608796" y="889066"/>
              <a:ext cx="919922" cy="241523"/>
            </a:xfrm>
            <a:prstGeom prst="rect">
              <a:avLst/>
            </a:prstGeom>
          </p:spPr>
        </p:pic>
        <p:pic>
          <p:nvPicPr>
            <p:cNvPr id="18" name="Picture 2">
              <a:extLst>
                <a:ext uri="{FF2B5EF4-FFF2-40B4-BE49-F238E27FC236}">
                  <a16:creationId xmlns:a16="http://schemas.microsoft.com/office/drawing/2014/main" id="{F0E2761E-0861-FEDB-4312-085553EF05F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>
            <a:xfrm>
              <a:off x="2621984" y="637665"/>
              <a:ext cx="768676" cy="219905"/>
            </a:xfrm>
            <a:prstGeom prst="rect">
              <a:avLst/>
            </a:prstGeom>
          </p:spPr>
        </p:pic>
      </p:grpSp>
      <p:pic>
        <p:nvPicPr>
          <p:cNvPr id="19" name="Picture Placeholder 7" descr="A red and black logo&#10;&#10;AI-generated content may be incorrect.">
            <a:extLst>
              <a:ext uri="{FF2B5EF4-FFF2-40B4-BE49-F238E27FC236}">
                <a16:creationId xmlns:a16="http://schemas.microsoft.com/office/drawing/2014/main" id="{2035B695-F255-7BFE-C53C-773436D5399C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-20638" t="-6021" r="-23377" b="-2381"/>
          <a:stretch>
            <a:fillRect/>
          </a:stretch>
        </p:blipFill>
        <p:spPr>
          <a:xfrm>
            <a:off x="11550650" y="6906"/>
            <a:ext cx="556760" cy="68696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A175270-BA65-823B-14A0-AA35F896BBF5}"/>
              </a:ext>
            </a:extLst>
          </p:cNvPr>
          <p:cNvSpPr/>
          <p:nvPr/>
        </p:nvSpPr>
        <p:spPr>
          <a:xfrm>
            <a:off x="2346385" y="1717675"/>
            <a:ext cx="7712015" cy="7415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6C5870E-24F8-4F5F-54F9-C1B0AEF6BEB5}"/>
              </a:ext>
            </a:extLst>
          </p:cNvPr>
          <p:cNvSpPr/>
          <p:nvPr/>
        </p:nvSpPr>
        <p:spPr>
          <a:xfrm>
            <a:off x="4411684" y="1717675"/>
            <a:ext cx="138023" cy="13716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B0EFD5-EBAD-20CE-C1E9-98F8738C8EB1}"/>
              </a:ext>
            </a:extLst>
          </p:cNvPr>
          <p:cNvSpPr/>
          <p:nvPr/>
        </p:nvSpPr>
        <p:spPr>
          <a:xfrm>
            <a:off x="6755191" y="1717866"/>
            <a:ext cx="138023" cy="137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D5EF81-FD1F-5F7E-6CAC-C880E17F5D23}"/>
              </a:ext>
            </a:extLst>
          </p:cNvPr>
          <p:cNvSpPr txBox="1"/>
          <p:nvPr/>
        </p:nvSpPr>
        <p:spPr>
          <a:xfrm>
            <a:off x="4530390" y="1616978"/>
            <a:ext cx="15520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lacebo (PBO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164AC46-EF47-B42C-F09C-EB62F19029A9}"/>
              </a:ext>
            </a:extLst>
          </p:cNvPr>
          <p:cNvSpPr txBox="1"/>
          <p:nvPr/>
        </p:nvSpPr>
        <p:spPr>
          <a:xfrm>
            <a:off x="6854682" y="1616978"/>
            <a:ext cx="11192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Olezarse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E562EB1-2E7A-D14B-DD98-1AB506C6B14F}"/>
              </a:ext>
            </a:extLst>
          </p:cNvPr>
          <p:cNvSpPr txBox="1"/>
          <p:nvPr/>
        </p:nvSpPr>
        <p:spPr>
          <a:xfrm>
            <a:off x="1895628" y="2727060"/>
            <a:ext cx="543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871731A-2664-6438-4DD2-844AC1B41221}"/>
              </a:ext>
            </a:extLst>
          </p:cNvPr>
          <p:cNvSpPr txBox="1"/>
          <p:nvPr/>
        </p:nvSpPr>
        <p:spPr>
          <a:xfrm>
            <a:off x="1527842" y="3644266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No DM</a:t>
            </a:r>
          </a:p>
        </p:txBody>
      </p:sp>
    </p:spTree>
    <p:extLst>
      <p:ext uri="{BB962C8B-B14F-4D97-AF65-F5344CB8AC3E}">
        <p14:creationId xmlns:p14="http://schemas.microsoft.com/office/powerpoint/2010/main" val="9785098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6D5D53-21F5-7A55-64A6-DA496CE39D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8EF1C86B-7FA8-D777-15E1-A8AB39450AC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5114"/>
          <a:stretch>
            <a:fillRect/>
          </a:stretch>
        </p:blipFill>
        <p:spPr>
          <a:xfrm>
            <a:off x="586933" y="1577456"/>
            <a:ext cx="10789965" cy="5161417"/>
          </a:xfrm>
          <a:prstGeom prst="rect">
            <a:avLst/>
          </a:prstGeom>
        </p:spPr>
      </p:pic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C3196CD7-02FE-1910-70DD-485595EE96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00CF9FE3-F3D8-49F2-040F-B58E58DE17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D655421-16FE-6853-0587-F0E63774BC6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32029A-5480-A909-37B2-F7E898A21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ycemic Impact of Olezarsen by DM Status </a:t>
            </a:r>
            <a:br>
              <a:rPr lang="en-US" dirty="0"/>
            </a:br>
            <a:r>
              <a:rPr lang="en-US" sz="2000" i="1" dirty="0">
                <a:solidFill>
                  <a:schemeClr val="bg2"/>
                </a:solidFill>
              </a:rPr>
              <a:t>Fasting plasma glucose, pooled olezarse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814E22C-82B4-99C3-79D8-E483DFF5B42C}"/>
              </a:ext>
            </a:extLst>
          </p:cNvPr>
          <p:cNvSpPr txBox="1"/>
          <p:nvPr/>
        </p:nvSpPr>
        <p:spPr>
          <a:xfrm>
            <a:off x="4602358" y="4231192"/>
            <a:ext cx="348425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BO-adjusted LSM 𝚫 : 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2.2 mg/dL (95% CI -1.1-5.6); </a:t>
            </a:r>
          </a:p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=N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4398321-8022-F442-EA12-2CCB1D892456}"/>
              </a:ext>
            </a:extLst>
          </p:cNvPr>
          <p:cNvGrpSpPr/>
          <p:nvPr/>
        </p:nvGrpSpPr>
        <p:grpSpPr>
          <a:xfrm>
            <a:off x="10904394" y="249888"/>
            <a:ext cx="704022" cy="363195"/>
            <a:chOff x="2608796" y="637665"/>
            <a:chExt cx="919922" cy="492924"/>
          </a:xfrm>
        </p:grpSpPr>
        <p:pic>
          <p:nvPicPr>
            <p:cNvPr id="15" name="Picture 14" descr="A logo with a letter and a swirly design&#10;&#10;AI-generated content may be incorrect.">
              <a:extLst>
                <a:ext uri="{FF2B5EF4-FFF2-40B4-BE49-F238E27FC236}">
                  <a16:creationId xmlns:a16="http://schemas.microsoft.com/office/drawing/2014/main" id="{4E947AE2-5DE8-9E69-9C69-46D2BFB7A11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608796" y="889066"/>
              <a:ext cx="919922" cy="241523"/>
            </a:xfrm>
            <a:prstGeom prst="rect">
              <a:avLst/>
            </a:prstGeom>
          </p:spPr>
        </p:pic>
        <p:pic>
          <p:nvPicPr>
            <p:cNvPr id="16" name="Picture 2">
              <a:extLst>
                <a:ext uri="{FF2B5EF4-FFF2-40B4-BE49-F238E27FC236}">
                  <a16:creationId xmlns:a16="http://schemas.microsoft.com/office/drawing/2014/main" id="{A63CD279-987A-EA09-A84D-4C09B8F2E3E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>
            <a:xfrm>
              <a:off x="2621984" y="637665"/>
              <a:ext cx="768676" cy="219905"/>
            </a:xfrm>
            <a:prstGeom prst="rect">
              <a:avLst/>
            </a:prstGeom>
          </p:spPr>
        </p:pic>
      </p:grpSp>
      <p:pic>
        <p:nvPicPr>
          <p:cNvPr id="17" name="Picture Placeholder 7" descr="A red and black logo&#10;&#10;AI-generated content may be incorrect.">
            <a:extLst>
              <a:ext uri="{FF2B5EF4-FFF2-40B4-BE49-F238E27FC236}">
                <a16:creationId xmlns:a16="http://schemas.microsoft.com/office/drawing/2014/main" id="{5B49E424-3550-1C1A-2616-DE65AAFB0B12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-20638" t="-6021" r="-23377" b="-2381"/>
          <a:stretch>
            <a:fillRect/>
          </a:stretch>
        </p:blipFill>
        <p:spPr>
          <a:xfrm>
            <a:off x="11550650" y="6906"/>
            <a:ext cx="556760" cy="68696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23038CA-41E0-3F44-7125-75F84ED24AE0}"/>
              </a:ext>
            </a:extLst>
          </p:cNvPr>
          <p:cNvSpPr/>
          <p:nvPr/>
        </p:nvSpPr>
        <p:spPr>
          <a:xfrm>
            <a:off x="2346385" y="1866760"/>
            <a:ext cx="7662139" cy="67343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9EFBAB-9E64-B12D-5427-3B09A0AFA0A0}"/>
              </a:ext>
            </a:extLst>
          </p:cNvPr>
          <p:cNvSpPr/>
          <p:nvPr/>
        </p:nvSpPr>
        <p:spPr>
          <a:xfrm>
            <a:off x="4411684" y="1717675"/>
            <a:ext cx="138023" cy="13716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8ACA39-E9DD-DB94-16BE-58DF58A46F49}"/>
              </a:ext>
            </a:extLst>
          </p:cNvPr>
          <p:cNvSpPr/>
          <p:nvPr/>
        </p:nvSpPr>
        <p:spPr>
          <a:xfrm>
            <a:off x="6755191" y="1717866"/>
            <a:ext cx="138023" cy="137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B435F8-4223-263E-5957-7F9170635EAF}"/>
              </a:ext>
            </a:extLst>
          </p:cNvPr>
          <p:cNvSpPr txBox="1"/>
          <p:nvPr/>
        </p:nvSpPr>
        <p:spPr>
          <a:xfrm>
            <a:off x="4530390" y="1616978"/>
            <a:ext cx="15520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lacebo (PB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EA20A13-FD33-1495-B4C7-861099A15CD4}"/>
              </a:ext>
            </a:extLst>
          </p:cNvPr>
          <p:cNvSpPr txBox="1"/>
          <p:nvPr/>
        </p:nvSpPr>
        <p:spPr>
          <a:xfrm>
            <a:off x="6854682" y="1616978"/>
            <a:ext cx="11192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Olezarse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11489BB-8589-7BDD-BA4A-12C9585B992F}"/>
              </a:ext>
            </a:extLst>
          </p:cNvPr>
          <p:cNvSpPr txBox="1"/>
          <p:nvPr/>
        </p:nvSpPr>
        <p:spPr>
          <a:xfrm>
            <a:off x="1890039" y="2952379"/>
            <a:ext cx="543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F2A9DDB-FB1C-107B-7BCB-4CCE29A8C3DF}"/>
              </a:ext>
            </a:extLst>
          </p:cNvPr>
          <p:cNvSpPr txBox="1"/>
          <p:nvPr/>
        </p:nvSpPr>
        <p:spPr>
          <a:xfrm>
            <a:off x="1522253" y="3868547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No D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21E117-DD20-DA07-FBFC-705EA2629866}"/>
              </a:ext>
            </a:extLst>
          </p:cNvPr>
          <p:cNvSpPr txBox="1"/>
          <p:nvPr/>
        </p:nvSpPr>
        <p:spPr>
          <a:xfrm>
            <a:off x="4822580" y="2421413"/>
            <a:ext cx="30022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BO-adjusted LSM 𝚫: 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12.1 mg/dL (95% CI 2.9-21.3)*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A60A358-E588-01DD-AC90-D3E47C5E9605}"/>
              </a:ext>
            </a:extLst>
          </p:cNvPr>
          <p:cNvSpPr txBox="1"/>
          <p:nvPr/>
        </p:nvSpPr>
        <p:spPr>
          <a:xfrm>
            <a:off x="1471962" y="6215653"/>
            <a:ext cx="943393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stimates at each time point are presented as medians, with error bars indicating 95% confidence intervals</a:t>
            </a:r>
            <a:r>
              <a:rPr lang="en-US" sz="14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 *P&lt;0.01</a:t>
            </a:r>
          </a:p>
          <a:p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Abbreviation: LSM, least-squares mean; PEP, primary endpoint; PBO, placebo</a:t>
            </a:r>
          </a:p>
        </p:txBody>
      </p:sp>
    </p:spTree>
    <p:extLst>
      <p:ext uri="{BB962C8B-B14F-4D97-AF65-F5344CB8AC3E}">
        <p14:creationId xmlns:p14="http://schemas.microsoft.com/office/powerpoint/2010/main" val="1421850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A733D7-072F-DE48-B7CC-A2ACACF09A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9BF98AB-8C6A-248B-349D-C8D046A66A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00CF9FE3-F3D8-49F2-040F-B58E58DE17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255989F-9B2A-097B-2B1A-E2A9FC3DAA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40AF95-CC04-47F1-0087-04EB020121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ycemic Impact of Olezarsen by DM Status</a:t>
            </a:r>
            <a:br>
              <a:rPr lang="en-US" dirty="0"/>
            </a:br>
            <a:r>
              <a:rPr lang="en-US" sz="2000" i="1" dirty="0">
                <a:solidFill>
                  <a:schemeClr val="bg2"/>
                </a:solidFill>
              </a:rPr>
              <a:t>HOMA-IR, pooled olezarse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79A6FB9-90F4-350C-327D-A999272BAA3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0" t="5124" r="1247" b="11049"/>
          <a:stretch>
            <a:fillRect/>
          </a:stretch>
        </p:blipFill>
        <p:spPr>
          <a:xfrm>
            <a:off x="720687" y="1616977"/>
            <a:ext cx="10659617" cy="464263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875A82C-23D4-A4A0-6B1E-3BF30530292E}"/>
              </a:ext>
            </a:extLst>
          </p:cNvPr>
          <p:cNvSpPr txBox="1"/>
          <p:nvPr/>
        </p:nvSpPr>
        <p:spPr>
          <a:xfrm>
            <a:off x="5205314" y="2658892"/>
            <a:ext cx="24384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BO-adjusted LSM 𝚫: 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1.5 (95% CI -0.6-3.6);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=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23688B3-99F6-19D6-7775-6CEA1763A375}"/>
              </a:ext>
            </a:extLst>
          </p:cNvPr>
          <p:cNvSpPr txBox="1"/>
          <p:nvPr/>
        </p:nvSpPr>
        <p:spPr>
          <a:xfrm>
            <a:off x="4920777" y="4572375"/>
            <a:ext cx="300211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BO-adjusted LSM 𝚫: 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-0.8 (95% CI -2.3-0.8);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=N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5C4181B-552B-A345-3976-F338DE992AFA}"/>
              </a:ext>
            </a:extLst>
          </p:cNvPr>
          <p:cNvGrpSpPr/>
          <p:nvPr/>
        </p:nvGrpSpPr>
        <p:grpSpPr>
          <a:xfrm>
            <a:off x="10904394" y="249888"/>
            <a:ext cx="704022" cy="363195"/>
            <a:chOff x="2608796" y="637665"/>
            <a:chExt cx="919922" cy="492924"/>
          </a:xfrm>
        </p:grpSpPr>
        <p:pic>
          <p:nvPicPr>
            <p:cNvPr id="14" name="Picture 13" descr="A logo with a letter and a swirly design&#10;&#10;AI-generated content may be incorrect.">
              <a:extLst>
                <a:ext uri="{FF2B5EF4-FFF2-40B4-BE49-F238E27FC236}">
                  <a16:creationId xmlns:a16="http://schemas.microsoft.com/office/drawing/2014/main" id="{5F88FD5A-56D1-E78E-D5CA-8E71DB1C0DE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608796" y="889066"/>
              <a:ext cx="919922" cy="241523"/>
            </a:xfrm>
            <a:prstGeom prst="rect">
              <a:avLst/>
            </a:prstGeom>
          </p:spPr>
        </p:pic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E426D235-1CE5-32C0-5CBE-5E049F3CD1D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>
            <a:xfrm>
              <a:off x="2621984" y="637665"/>
              <a:ext cx="768676" cy="219905"/>
            </a:xfrm>
            <a:prstGeom prst="rect">
              <a:avLst/>
            </a:prstGeom>
          </p:spPr>
        </p:pic>
      </p:grpSp>
      <p:pic>
        <p:nvPicPr>
          <p:cNvPr id="16" name="Picture Placeholder 7" descr="A red and black logo&#10;&#10;AI-generated content may be incorrect.">
            <a:extLst>
              <a:ext uri="{FF2B5EF4-FFF2-40B4-BE49-F238E27FC236}">
                <a16:creationId xmlns:a16="http://schemas.microsoft.com/office/drawing/2014/main" id="{DBBD8AAA-1CB0-10D3-1336-72CBB2BB5564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-20638" t="-6021" r="-23377" b="-2381"/>
          <a:stretch>
            <a:fillRect/>
          </a:stretch>
        </p:blipFill>
        <p:spPr>
          <a:xfrm>
            <a:off x="11550650" y="6906"/>
            <a:ext cx="556760" cy="68696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F344950-7B8A-DAE1-F51D-C848322967E6}"/>
              </a:ext>
            </a:extLst>
          </p:cNvPr>
          <p:cNvSpPr/>
          <p:nvPr/>
        </p:nvSpPr>
        <p:spPr>
          <a:xfrm>
            <a:off x="2346385" y="1717675"/>
            <a:ext cx="8676111" cy="67343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F9BACA9-7662-B435-88ED-20DC910A5588}"/>
              </a:ext>
            </a:extLst>
          </p:cNvPr>
          <p:cNvSpPr/>
          <p:nvPr/>
        </p:nvSpPr>
        <p:spPr>
          <a:xfrm>
            <a:off x="4411684" y="1717675"/>
            <a:ext cx="138023" cy="13716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75B4C6-C82D-4117-D739-ACAB20B254E3}"/>
              </a:ext>
            </a:extLst>
          </p:cNvPr>
          <p:cNvSpPr/>
          <p:nvPr/>
        </p:nvSpPr>
        <p:spPr>
          <a:xfrm>
            <a:off x="6755191" y="1717866"/>
            <a:ext cx="138023" cy="137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A32E21-2AED-4CE0-6516-B5710E1A4947}"/>
              </a:ext>
            </a:extLst>
          </p:cNvPr>
          <p:cNvSpPr txBox="1"/>
          <p:nvPr/>
        </p:nvSpPr>
        <p:spPr>
          <a:xfrm>
            <a:off x="4530390" y="1616978"/>
            <a:ext cx="15520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lacebo (PB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D8B0B8-4381-E071-F679-522BB55F552F}"/>
              </a:ext>
            </a:extLst>
          </p:cNvPr>
          <p:cNvSpPr txBox="1"/>
          <p:nvPr/>
        </p:nvSpPr>
        <p:spPr>
          <a:xfrm>
            <a:off x="6854682" y="1616978"/>
            <a:ext cx="11192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Olezarse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ADACD4E-9B5C-D963-2AC0-D99C07A241E2}"/>
              </a:ext>
            </a:extLst>
          </p:cNvPr>
          <p:cNvSpPr txBox="1"/>
          <p:nvPr/>
        </p:nvSpPr>
        <p:spPr>
          <a:xfrm>
            <a:off x="1871926" y="3113029"/>
            <a:ext cx="543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CB966AB-E293-9887-D984-A6673B77A518}"/>
              </a:ext>
            </a:extLst>
          </p:cNvPr>
          <p:cNvSpPr txBox="1"/>
          <p:nvPr/>
        </p:nvSpPr>
        <p:spPr>
          <a:xfrm>
            <a:off x="1504140" y="4026312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No D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69A3000-793C-CE1D-C59F-273D71E935FF}"/>
              </a:ext>
            </a:extLst>
          </p:cNvPr>
          <p:cNvSpPr txBox="1"/>
          <p:nvPr/>
        </p:nvSpPr>
        <p:spPr>
          <a:xfrm>
            <a:off x="1455235" y="6264552"/>
            <a:ext cx="943393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stimates at each time point are presented as medians, with error bars indicating 95% confidence intervals</a:t>
            </a:r>
            <a:endParaRPr lang="en-US" sz="1400" i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Abbreviation: LSM, least-squares mean; PEP, primary endpoint; PBO, placebo</a:t>
            </a:r>
          </a:p>
        </p:txBody>
      </p:sp>
    </p:spTree>
    <p:extLst>
      <p:ext uri="{BB962C8B-B14F-4D97-AF65-F5344CB8AC3E}">
        <p14:creationId xmlns:p14="http://schemas.microsoft.com/office/powerpoint/2010/main" val="460205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E02CDF-1139-3140-C853-8129365A19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1320A86-91A2-F40F-77B9-6B92CBB5E2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0658E10-FD3A-0C20-72C7-5155DAF233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904CC99A-9015-7360-BD20-92E55C5596A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F7DFBB-32EF-79D9-D599-13B711D59A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mitation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6811D60-D53A-4E9D-B542-F80003F09F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2951" y="1267234"/>
            <a:ext cx="10704411" cy="4896897"/>
          </a:xfrm>
        </p:spPr>
        <p:txBody>
          <a:bodyPr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Changes in diabetes medications were not assessed in this study</a:t>
            </a:r>
          </a:p>
          <a:p>
            <a:pPr marL="804863" lvl="1" indent="-342900">
              <a:spcBef>
                <a:spcPts val="600"/>
              </a:spcBef>
            </a:pPr>
            <a:r>
              <a:rPr lang="en-US" sz="2400" dirty="0"/>
              <a:t>Assessment of glycemic profile may not fully capture the extent of </a:t>
            </a:r>
            <a:r>
              <a:rPr lang="en-US" sz="2400" dirty="0" err="1"/>
              <a:t>dysglycemia</a:t>
            </a:r>
            <a:endParaRPr lang="en-US" sz="2400" dirty="0"/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Not designed to elucidate the mechanistic pathways underlying the glycemic change, but appears to be a class effect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Assessment of glycemic impact of olezarsen beyond 12 months requires further studi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3DB58C0-342A-F626-BAB9-3F7FAB0844BA}"/>
              </a:ext>
            </a:extLst>
          </p:cNvPr>
          <p:cNvGrpSpPr/>
          <p:nvPr/>
        </p:nvGrpSpPr>
        <p:grpSpPr>
          <a:xfrm>
            <a:off x="10904394" y="249888"/>
            <a:ext cx="704022" cy="363195"/>
            <a:chOff x="2608796" y="637665"/>
            <a:chExt cx="919922" cy="492924"/>
          </a:xfrm>
        </p:grpSpPr>
        <p:pic>
          <p:nvPicPr>
            <p:cNvPr id="5" name="Picture 4" descr="A logo with a letter and a swirly design&#10;&#10;AI-generated content may be incorrect.">
              <a:extLst>
                <a:ext uri="{FF2B5EF4-FFF2-40B4-BE49-F238E27FC236}">
                  <a16:creationId xmlns:a16="http://schemas.microsoft.com/office/drawing/2014/main" id="{A0986B71-527B-F302-8FE6-B4F071B0F3E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08796" y="889066"/>
              <a:ext cx="919922" cy="241523"/>
            </a:xfrm>
            <a:prstGeom prst="rect">
              <a:avLst/>
            </a:prstGeom>
          </p:spPr>
        </p:pic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41CABAAE-0587-22A1-8A3E-65A86F775AC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>
            <a:xfrm>
              <a:off x="2621984" y="637665"/>
              <a:ext cx="768676" cy="219905"/>
            </a:xfrm>
            <a:prstGeom prst="rect">
              <a:avLst/>
            </a:prstGeom>
          </p:spPr>
        </p:pic>
      </p:grpSp>
      <p:pic>
        <p:nvPicPr>
          <p:cNvPr id="8" name="Picture Placeholder 7" descr="A red and black logo&#10;&#10;AI-generated content may be incorrect.">
            <a:extLst>
              <a:ext uri="{FF2B5EF4-FFF2-40B4-BE49-F238E27FC236}">
                <a16:creationId xmlns:a16="http://schemas.microsoft.com/office/drawing/2014/main" id="{1B67542E-6E38-ED2E-CF05-B5BC0B662A77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-20638" t="-6021" r="-23377" b="-2381"/>
          <a:stretch>
            <a:fillRect/>
          </a:stretch>
        </p:blipFill>
        <p:spPr>
          <a:xfrm>
            <a:off x="11550650" y="6906"/>
            <a:ext cx="556760" cy="686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2744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D15089-FAE5-62B6-0D3B-8372D8AD1C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9611AF6-656C-49BE-FF25-52CE45C00D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1320A86-91A2-F40F-77B9-6B92CBB5E2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4E5FC080-09FE-5CA0-0DF5-6FEE0CE917E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901325-EA2D-CB35-7D34-C379AB364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&amp; Conclus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12D2EDA-19F1-76DD-BA6E-0F0D9B5709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238" y="1267234"/>
            <a:ext cx="10902951" cy="4896897"/>
          </a:xfrm>
        </p:spPr>
        <p:txBody>
          <a:bodyPr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In this high-risk population with </a:t>
            </a:r>
            <a:r>
              <a:rPr lang="en-US" sz="2400" b="1" u="sng" dirty="0"/>
              <a:t>severe HTG &amp; DM</a:t>
            </a:r>
            <a:r>
              <a:rPr lang="en-US" sz="2400" dirty="0"/>
              <a:t>, </a:t>
            </a:r>
            <a:r>
              <a:rPr lang="en-US" sz="2400" b="1" dirty="0"/>
              <a:t>olezarsen</a:t>
            </a:r>
            <a:r>
              <a:rPr lang="en-US" sz="2400" dirty="0"/>
              <a:t>;</a:t>
            </a:r>
          </a:p>
          <a:p>
            <a:pPr marL="804863" lvl="1" indent="-342900"/>
            <a:r>
              <a:rPr lang="en-US" sz="2300" dirty="0"/>
              <a:t>Reduced TG levels by </a:t>
            </a:r>
            <a:r>
              <a:rPr lang="en-US" sz="2300" b="1" dirty="0"/>
              <a:t>58–65% </a:t>
            </a:r>
            <a:r>
              <a:rPr lang="en-US" sz="2300" dirty="0"/>
              <a:t>on top of currently available lipid lowering therapies</a:t>
            </a:r>
          </a:p>
          <a:p>
            <a:pPr marL="804863" lvl="1" indent="-342900"/>
            <a:r>
              <a:rPr lang="en-US" sz="2300" dirty="0"/>
              <a:t>Reduced acute pancreatitis events by </a:t>
            </a:r>
            <a:r>
              <a:rPr lang="en-US" sz="2300" b="1" dirty="0"/>
              <a:t>81%</a:t>
            </a:r>
            <a:r>
              <a:rPr lang="en-US" sz="2300" dirty="0"/>
              <a:t>, with an absolute rate reduction of </a:t>
            </a:r>
            <a:r>
              <a:rPr lang="en-US" sz="2300" b="1" dirty="0"/>
              <a:t>6.6% </a:t>
            </a:r>
          </a:p>
          <a:p>
            <a:pPr marL="1031875" lvl="2" indent="-342900"/>
            <a:r>
              <a:rPr lang="en-US" sz="2300" dirty="0"/>
              <a:t>Yielded a number needed to treat of </a:t>
            </a:r>
            <a:r>
              <a:rPr lang="en-US" sz="2300" b="1" dirty="0"/>
              <a:t>16 </a:t>
            </a:r>
            <a:r>
              <a:rPr lang="en-US" sz="2300" dirty="0"/>
              <a:t>to prevent one event over 12 months </a:t>
            </a:r>
          </a:p>
          <a:p>
            <a:pPr marL="804863" lvl="1" indent="-342900"/>
            <a:r>
              <a:rPr lang="en-US" sz="2300" dirty="0"/>
              <a:t>Minimally increased HbA1c (by </a:t>
            </a:r>
            <a:r>
              <a:rPr lang="en-US" sz="2300" b="1" dirty="0"/>
              <a:t>0.26%</a:t>
            </a:r>
            <a:r>
              <a:rPr lang="en-US" sz="2300" dirty="0"/>
              <a:t>) with </a:t>
            </a:r>
            <a:r>
              <a:rPr lang="en-US" sz="2300" b="1" dirty="0"/>
              <a:t>no changes </a:t>
            </a:r>
            <a:r>
              <a:rPr lang="en-US" sz="2300" dirty="0"/>
              <a:t>in HOMA-IR </a:t>
            </a:r>
          </a:p>
          <a:p>
            <a:pPr marL="1031875" lvl="2" indent="-342900"/>
            <a:r>
              <a:rPr lang="en-US" sz="2300" dirty="0"/>
              <a:t>The degree of glycemic excursion observed is unlikely to be clinically meaningful for most sHTG patients</a:t>
            </a:r>
            <a:endParaRPr lang="en-US" sz="2400" dirty="0"/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CORE-OLE (NCT05681351), an open-label extension study of CORE-TIMI 72a &amp; CORE2-TIMI 72b, will further elucidate the long-term effect of olezarsen</a:t>
            </a:r>
            <a:endParaRPr lang="en-US" altLang="ko-KR" sz="24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623A654-1FFA-1D4C-2450-BDC62539D5F6}"/>
              </a:ext>
            </a:extLst>
          </p:cNvPr>
          <p:cNvGrpSpPr/>
          <p:nvPr/>
        </p:nvGrpSpPr>
        <p:grpSpPr>
          <a:xfrm>
            <a:off x="10904394" y="249888"/>
            <a:ext cx="704022" cy="363195"/>
            <a:chOff x="2608796" y="637665"/>
            <a:chExt cx="919922" cy="492924"/>
          </a:xfrm>
        </p:grpSpPr>
        <p:pic>
          <p:nvPicPr>
            <p:cNvPr id="6" name="Picture 5" descr="A logo with a letter and a swirly design&#10;&#10;AI-generated content may be incorrect.">
              <a:extLst>
                <a:ext uri="{FF2B5EF4-FFF2-40B4-BE49-F238E27FC236}">
                  <a16:creationId xmlns:a16="http://schemas.microsoft.com/office/drawing/2014/main" id="{16C503AF-1073-9459-FC7B-93D9522ECA3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08796" y="889066"/>
              <a:ext cx="919922" cy="241523"/>
            </a:xfrm>
            <a:prstGeom prst="rect">
              <a:avLst/>
            </a:prstGeom>
          </p:spPr>
        </p:pic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BA8AAD6B-AB4F-B51A-E9A3-1AB10399F37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>
            <a:xfrm>
              <a:off x="2621984" y="637665"/>
              <a:ext cx="768676" cy="219905"/>
            </a:xfrm>
            <a:prstGeom prst="rect">
              <a:avLst/>
            </a:prstGeom>
          </p:spPr>
        </p:pic>
      </p:grpSp>
      <p:pic>
        <p:nvPicPr>
          <p:cNvPr id="8" name="Picture Placeholder 7" descr="A red and black logo&#10;&#10;AI-generated content may be incorrect.">
            <a:extLst>
              <a:ext uri="{FF2B5EF4-FFF2-40B4-BE49-F238E27FC236}">
                <a16:creationId xmlns:a16="http://schemas.microsoft.com/office/drawing/2014/main" id="{FECE2CF2-F580-6490-4378-C3EEDEE72B9F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-20638" t="-6021" r="-23377" b="-2381"/>
          <a:stretch>
            <a:fillRect/>
          </a:stretch>
        </p:blipFill>
        <p:spPr>
          <a:xfrm>
            <a:off x="11550650" y="6906"/>
            <a:ext cx="556760" cy="68696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8DFB402-3AE5-291D-BC58-44F5669ADB99}"/>
              </a:ext>
            </a:extLst>
          </p:cNvPr>
          <p:cNvSpPr txBox="1"/>
          <p:nvPr/>
        </p:nvSpPr>
        <p:spPr>
          <a:xfrm>
            <a:off x="5149562" y="6176672"/>
            <a:ext cx="609414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@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TIMIStudyGroup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http://www.timi.org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ymkang@bwh.harvard.edu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8756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8E90BD7-B8FB-314F-BEAC-CDE8AF7F70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8E90BD7-B8FB-314F-BEAC-CDE8AF7F70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AE05FD8-3EBC-8F4A-A2BC-2F12392FB4B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BB8E81-73FA-8241-9491-D4B6008E2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  <a:br>
              <a:rPr lang="en-US" dirty="0"/>
            </a:br>
            <a:r>
              <a:rPr lang="en-US" sz="2000" i="1" dirty="0">
                <a:solidFill>
                  <a:schemeClr val="bg2"/>
                </a:solidFill>
              </a:rPr>
              <a:t>sHTG, APOC3, &amp; olezarsen</a:t>
            </a:r>
            <a:endParaRPr lang="en-US" sz="2000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DD4AA7C-FC6C-1FF2-B98B-6AE8D0EAC2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9855" y="1355782"/>
            <a:ext cx="6445404" cy="4808349"/>
          </a:xfrm>
        </p:spPr>
        <p:txBody>
          <a:bodyPr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Severe hypertriglyceridemia (sHTG), defined as triglycerides (TGs) ≥500 mg/dL (5.65 mmol/L) carries an increased risk of acute pancreatitis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b="1" dirty="0"/>
              <a:t>Apolipoprotein C-III (APOC3)</a:t>
            </a:r>
            <a:r>
              <a:rPr lang="en-US" sz="2400" dirty="0"/>
              <a:t> inhibits:</a:t>
            </a:r>
          </a:p>
          <a:p>
            <a:pPr marL="804863" lvl="1" indent="-342900">
              <a:spcBef>
                <a:spcPts val="600"/>
              </a:spcBef>
            </a:pPr>
            <a:r>
              <a:rPr lang="en-US" sz="2000" dirty="0"/>
              <a:t>lipoprotein lipase (LPL), a key enzyme in TG metabolism </a:t>
            </a:r>
          </a:p>
          <a:p>
            <a:pPr marL="804863" lvl="1" indent="-342900">
              <a:spcBef>
                <a:spcPts val="600"/>
              </a:spcBef>
            </a:pPr>
            <a:r>
              <a:rPr lang="en-US" sz="2000" dirty="0"/>
              <a:t>hepatic uptake of TG-rich lipoproteins (TRLs)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b="1" dirty="0"/>
              <a:t>Olezarsen</a:t>
            </a:r>
            <a:r>
              <a:rPr lang="en-US" sz="2400" dirty="0"/>
              <a:t> is an antisense oligonucleotide targeting </a:t>
            </a:r>
            <a:r>
              <a:rPr lang="en-US" sz="2400" i="1" dirty="0"/>
              <a:t>APOC3</a:t>
            </a:r>
            <a:r>
              <a:rPr lang="en-US" sz="2400" dirty="0"/>
              <a:t> (i.e., APOC3 inhibitor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FDC1687-404A-4DD8-B19B-6EAFC8112F4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46" t="6412" r="51464" b="1349"/>
          <a:stretch/>
        </p:blipFill>
        <p:spPr>
          <a:xfrm>
            <a:off x="829283" y="1355782"/>
            <a:ext cx="4556755" cy="4565474"/>
          </a:xfrm>
          <a:prstGeom prst="rect">
            <a:avLst/>
          </a:prstGeom>
          <a:ln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ABE84D2-9212-07CC-E1A7-41AAF4A7D95F}"/>
              </a:ext>
            </a:extLst>
          </p:cNvPr>
          <p:cNvSpPr txBox="1"/>
          <p:nvPr/>
        </p:nvSpPr>
        <p:spPr>
          <a:xfrm>
            <a:off x="1728439" y="6293421"/>
            <a:ext cx="1035018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600" i="1" dirty="0"/>
              <a:t> Mach F, et al. </a:t>
            </a:r>
            <a:r>
              <a:rPr lang="en-US" sz="1600" i="1" dirty="0" err="1"/>
              <a:t>Eur</a:t>
            </a:r>
            <a:r>
              <a:rPr lang="en-US" sz="1600" i="1" dirty="0"/>
              <a:t> Heart J. 2020;41(1):111-188;</a:t>
            </a:r>
          </a:p>
          <a:p>
            <a:pPr algn="r"/>
            <a:r>
              <a:rPr lang="en-US" sz="1600" i="1" dirty="0"/>
              <a:t>Gaudet, et al. N Engl J Med 2014;371:2200-2206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31792A5-3014-0B41-5E8A-7026E06853D8}"/>
              </a:ext>
            </a:extLst>
          </p:cNvPr>
          <p:cNvGrpSpPr/>
          <p:nvPr/>
        </p:nvGrpSpPr>
        <p:grpSpPr>
          <a:xfrm>
            <a:off x="2601531" y="3243081"/>
            <a:ext cx="2810265" cy="1395042"/>
            <a:chOff x="1496291" y="2400300"/>
            <a:chExt cx="2096595" cy="1051214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12B82EB3-4516-5D14-53B9-9D974B63AD58}"/>
                </a:ext>
              </a:extLst>
            </p:cNvPr>
            <p:cNvSpPr/>
            <p:nvPr/>
          </p:nvSpPr>
          <p:spPr>
            <a:xfrm>
              <a:off x="1496291" y="2400300"/>
              <a:ext cx="644236" cy="192232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D2770DF-F0A3-8DF6-3243-3B11A5A545E5}"/>
                </a:ext>
              </a:extLst>
            </p:cNvPr>
            <p:cNvSpPr/>
            <p:nvPr/>
          </p:nvSpPr>
          <p:spPr>
            <a:xfrm>
              <a:off x="2948650" y="3259282"/>
              <a:ext cx="644236" cy="192232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592953B-C04A-21B4-7DC2-E1BBA922C600}"/>
              </a:ext>
            </a:extLst>
          </p:cNvPr>
          <p:cNvGrpSpPr/>
          <p:nvPr/>
        </p:nvGrpSpPr>
        <p:grpSpPr>
          <a:xfrm>
            <a:off x="10904394" y="249888"/>
            <a:ext cx="704022" cy="363195"/>
            <a:chOff x="2608796" y="637665"/>
            <a:chExt cx="919922" cy="492924"/>
          </a:xfrm>
        </p:grpSpPr>
        <p:pic>
          <p:nvPicPr>
            <p:cNvPr id="14" name="Picture 13" descr="A logo with a letter and a swirly design&#10;&#10;AI-generated content may be incorrect.">
              <a:extLst>
                <a:ext uri="{FF2B5EF4-FFF2-40B4-BE49-F238E27FC236}">
                  <a16:creationId xmlns:a16="http://schemas.microsoft.com/office/drawing/2014/main" id="{5E2903CD-CB3C-CFEB-4791-CBD18A166FA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608796" y="889066"/>
              <a:ext cx="919922" cy="241523"/>
            </a:xfrm>
            <a:prstGeom prst="rect">
              <a:avLst/>
            </a:prstGeom>
          </p:spPr>
        </p:pic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3871ED4C-E5F0-2921-5CB7-A111693A16B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>
            <a:xfrm>
              <a:off x="2621984" y="637665"/>
              <a:ext cx="768676" cy="219905"/>
            </a:xfrm>
            <a:prstGeom prst="rect">
              <a:avLst/>
            </a:prstGeom>
          </p:spPr>
        </p:pic>
      </p:grpSp>
      <p:pic>
        <p:nvPicPr>
          <p:cNvPr id="16" name="Picture Placeholder 7" descr="A red and black logo&#10;&#10;AI-generated content may be incorrect.">
            <a:extLst>
              <a:ext uri="{FF2B5EF4-FFF2-40B4-BE49-F238E27FC236}">
                <a16:creationId xmlns:a16="http://schemas.microsoft.com/office/drawing/2014/main" id="{D04FA826-9FBF-5F4C-0876-01C2DF23F615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-20638" t="-6021" r="-23377" b="-2381"/>
          <a:stretch>
            <a:fillRect/>
          </a:stretch>
        </p:blipFill>
        <p:spPr>
          <a:xfrm>
            <a:off x="11550650" y="6906"/>
            <a:ext cx="556760" cy="686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751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78EB23-A1BB-F3D0-A3D0-8E3ED0220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6F493FC-6BFA-408A-1ED5-A881B6BB58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8E90BD7-B8FB-314F-BEAC-CDE8AF7F70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0CF53605-47AB-6E9C-5202-E3210BB0C96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48C9BD-D988-E496-4BAB-C3BB197161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–TIMI 72a &amp; CORE2–TIMI 72b</a:t>
            </a:r>
            <a:br>
              <a:rPr lang="en-US" dirty="0"/>
            </a:br>
            <a:r>
              <a:rPr lang="en-US" sz="2000" i="1" dirty="0">
                <a:solidFill>
                  <a:schemeClr val="bg2"/>
                </a:solidFill>
              </a:rPr>
              <a:t>Study design (identical)</a:t>
            </a:r>
            <a:endParaRPr lang="en-US" i="1" dirty="0">
              <a:solidFill>
                <a:schemeClr val="bg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493544-87DC-C8E4-C7C4-58A562E053C8}"/>
              </a:ext>
            </a:extLst>
          </p:cNvPr>
          <p:cNvSpPr txBox="1"/>
          <p:nvPr/>
        </p:nvSpPr>
        <p:spPr>
          <a:xfrm>
            <a:off x="1757224" y="6519446"/>
            <a:ext cx="1035018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600" i="1" dirty="0"/>
              <a:t> Marston NA, Bergmark BA et al. N Engl J Med 2026;394:429–441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C1DCF54-7272-4962-6A2B-5250A3933A52}"/>
              </a:ext>
            </a:extLst>
          </p:cNvPr>
          <p:cNvGrpSpPr/>
          <p:nvPr/>
        </p:nvGrpSpPr>
        <p:grpSpPr>
          <a:xfrm>
            <a:off x="10904394" y="249888"/>
            <a:ext cx="704022" cy="363195"/>
            <a:chOff x="2608796" y="637665"/>
            <a:chExt cx="919922" cy="492924"/>
          </a:xfrm>
        </p:grpSpPr>
        <p:pic>
          <p:nvPicPr>
            <p:cNvPr id="14" name="Picture 13" descr="A logo with a letter and a swirly design&#10;&#10;AI-generated content may be incorrect.">
              <a:extLst>
                <a:ext uri="{FF2B5EF4-FFF2-40B4-BE49-F238E27FC236}">
                  <a16:creationId xmlns:a16="http://schemas.microsoft.com/office/drawing/2014/main" id="{A9042DC1-D2EE-2C83-0E79-CA70F57BA01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08796" y="889066"/>
              <a:ext cx="919922" cy="241523"/>
            </a:xfrm>
            <a:prstGeom prst="rect">
              <a:avLst/>
            </a:prstGeom>
          </p:spPr>
        </p:pic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D6758D96-1E94-21CA-A909-D74EBAF7B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>
            <a:xfrm>
              <a:off x="2621984" y="637665"/>
              <a:ext cx="768676" cy="219905"/>
            </a:xfrm>
            <a:prstGeom prst="rect">
              <a:avLst/>
            </a:prstGeom>
          </p:spPr>
        </p:pic>
      </p:grpSp>
      <p:pic>
        <p:nvPicPr>
          <p:cNvPr id="16" name="Picture Placeholder 7" descr="A red and black logo&#10;&#10;AI-generated content may be incorrect.">
            <a:extLst>
              <a:ext uri="{FF2B5EF4-FFF2-40B4-BE49-F238E27FC236}">
                <a16:creationId xmlns:a16="http://schemas.microsoft.com/office/drawing/2014/main" id="{510DFFF8-024A-F2FA-5E0B-22E0253D35E4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-20638" t="-6021" r="-23377" b="-2381"/>
          <a:stretch>
            <a:fillRect/>
          </a:stretch>
        </p:blipFill>
        <p:spPr>
          <a:xfrm>
            <a:off x="11550650" y="6906"/>
            <a:ext cx="556760" cy="686963"/>
          </a:xfrm>
          <a:prstGeom prst="rect">
            <a:avLst/>
          </a:prstGeom>
        </p:spPr>
      </p:pic>
      <p:pic>
        <p:nvPicPr>
          <p:cNvPr id="42" name="Picture 41" descr="A diagram of treatment period&#10;&#10;AI-generated content may be incorrect.">
            <a:extLst>
              <a:ext uri="{FF2B5EF4-FFF2-40B4-BE49-F238E27FC236}">
                <a16:creationId xmlns:a16="http://schemas.microsoft.com/office/drawing/2014/main" id="{6CFA575A-AEDD-6134-2789-9B81FFB803DC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b="24924"/>
          <a:stretch>
            <a:fillRect/>
          </a:stretch>
        </p:blipFill>
        <p:spPr>
          <a:xfrm>
            <a:off x="1095808" y="1331112"/>
            <a:ext cx="10077717" cy="4017157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DAEDD460-A5B0-6900-CF69-FE505D80BC27}"/>
              </a:ext>
            </a:extLst>
          </p:cNvPr>
          <p:cNvSpPr txBox="1"/>
          <p:nvPr/>
        </p:nvSpPr>
        <p:spPr>
          <a:xfrm>
            <a:off x="770948" y="5438107"/>
            <a:ext cx="1086547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Primary endpoint: placebo-adjusted % change in triglycerides at 6 months</a:t>
            </a:r>
          </a:p>
          <a:p>
            <a:pPr algn="ct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econdary endpoints include % change in other lipid parameters and acute pancreatitis</a:t>
            </a:r>
          </a:p>
        </p:txBody>
      </p:sp>
    </p:spTree>
    <p:extLst>
      <p:ext uri="{BB962C8B-B14F-4D97-AF65-F5344CB8AC3E}">
        <p14:creationId xmlns:p14="http://schemas.microsoft.com/office/powerpoint/2010/main" val="26697181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83A9B8-B1E3-21DC-18E7-F73C2C88B5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3AA74992-213F-7E26-9751-B4507DA5A7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E6F493FC-6BFA-408A-1ED5-A881B6BB58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6592F8F-6086-60A8-17C3-A0D8F46314C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C19B5A-362C-EFC3-D461-38B430EFF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–TIMI 72a &amp; CORE2–TIMI 72b</a:t>
            </a:r>
            <a:br>
              <a:rPr lang="en-US" dirty="0"/>
            </a:br>
            <a:r>
              <a:rPr lang="en-US" sz="2000" i="1" dirty="0">
                <a:solidFill>
                  <a:schemeClr val="bg2"/>
                </a:solidFill>
              </a:rPr>
              <a:t>Primary endpoint: placebo-adjusted % change in TG at 6 months from baseline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B1F3D08-446E-66CF-A6FE-78C920F460DF}"/>
              </a:ext>
            </a:extLst>
          </p:cNvPr>
          <p:cNvGrpSpPr/>
          <p:nvPr/>
        </p:nvGrpSpPr>
        <p:grpSpPr>
          <a:xfrm>
            <a:off x="10904394" y="249888"/>
            <a:ext cx="704022" cy="363195"/>
            <a:chOff x="2608796" y="637665"/>
            <a:chExt cx="919922" cy="492924"/>
          </a:xfrm>
        </p:grpSpPr>
        <p:pic>
          <p:nvPicPr>
            <p:cNvPr id="14" name="Picture 13" descr="A logo with a letter and a swirly design&#10;&#10;AI-generated content may be incorrect.">
              <a:extLst>
                <a:ext uri="{FF2B5EF4-FFF2-40B4-BE49-F238E27FC236}">
                  <a16:creationId xmlns:a16="http://schemas.microsoft.com/office/drawing/2014/main" id="{2CDC6037-51F9-A6B3-D008-E9B30DFACC8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08796" y="889066"/>
              <a:ext cx="919922" cy="241523"/>
            </a:xfrm>
            <a:prstGeom prst="rect">
              <a:avLst/>
            </a:prstGeom>
          </p:spPr>
        </p:pic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3295197B-A66C-4336-E327-24E4BA8EF43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>
            <a:xfrm>
              <a:off x="2621984" y="637665"/>
              <a:ext cx="768676" cy="219905"/>
            </a:xfrm>
            <a:prstGeom prst="rect">
              <a:avLst/>
            </a:prstGeom>
          </p:spPr>
        </p:pic>
      </p:grpSp>
      <p:pic>
        <p:nvPicPr>
          <p:cNvPr id="16" name="Picture Placeholder 7" descr="A red and black logo&#10;&#10;AI-generated content may be incorrect.">
            <a:extLst>
              <a:ext uri="{FF2B5EF4-FFF2-40B4-BE49-F238E27FC236}">
                <a16:creationId xmlns:a16="http://schemas.microsoft.com/office/drawing/2014/main" id="{EEB7E718-C064-C3BE-4285-B3FC36E27004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-20638" t="-6021" r="-23377" b="-2381"/>
          <a:stretch>
            <a:fillRect/>
          </a:stretch>
        </p:blipFill>
        <p:spPr>
          <a:xfrm>
            <a:off x="11550650" y="6906"/>
            <a:ext cx="556760" cy="686963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54674C49-8C2E-EBFF-5078-7618CB7031A0}"/>
              </a:ext>
            </a:extLst>
          </p:cNvPr>
          <p:cNvSpPr txBox="1"/>
          <p:nvPr/>
        </p:nvSpPr>
        <p:spPr>
          <a:xfrm>
            <a:off x="1681482" y="5412025"/>
            <a:ext cx="873348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Olezarsen lowered plasma TG levels by </a:t>
            </a:r>
            <a:r>
              <a:rPr lang="en-US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49-72%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, compared to placebo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382F7AD4-EF55-DD50-48B6-3C07D13BDB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3822" y="2118732"/>
            <a:ext cx="5774399" cy="2939009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40F8FB4E-2E92-D625-6205-E0D45541356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24747" y="2107581"/>
            <a:ext cx="5774400" cy="2977873"/>
          </a:xfrm>
          <a:prstGeom prst="rect">
            <a:avLst/>
          </a:prstGeom>
        </p:spPr>
      </p:pic>
      <p:sp>
        <p:nvSpPr>
          <p:cNvPr id="52" name="Title 1">
            <a:extLst>
              <a:ext uri="{FF2B5EF4-FFF2-40B4-BE49-F238E27FC236}">
                <a16:creationId xmlns:a16="http://schemas.microsoft.com/office/drawing/2014/main" id="{DE1C9EFA-9518-ED7B-E3A1-BC98897C2E64}"/>
              </a:ext>
            </a:extLst>
          </p:cNvPr>
          <p:cNvSpPr txBox="1">
            <a:spLocks/>
          </p:cNvSpPr>
          <p:nvPr/>
        </p:nvSpPr>
        <p:spPr>
          <a:xfrm>
            <a:off x="1037065" y="1781010"/>
            <a:ext cx="4739268" cy="3327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b="1" dirty="0">
                <a:solidFill>
                  <a:srgbClr val="AC0D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-TIMI 72a</a:t>
            </a: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7DF74387-7CCF-EA32-14DE-91863C91B970}"/>
              </a:ext>
            </a:extLst>
          </p:cNvPr>
          <p:cNvSpPr txBox="1">
            <a:spLocks/>
          </p:cNvSpPr>
          <p:nvPr/>
        </p:nvSpPr>
        <p:spPr>
          <a:xfrm>
            <a:off x="6863851" y="1781010"/>
            <a:ext cx="4739268" cy="3327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b="1" dirty="0">
                <a:solidFill>
                  <a:srgbClr val="AC0D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2-TIMI 72b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911E6BF-3CC8-FDFC-2D5D-E25FA50C1306}"/>
              </a:ext>
            </a:extLst>
          </p:cNvPr>
          <p:cNvSpPr/>
          <p:nvPr/>
        </p:nvSpPr>
        <p:spPr>
          <a:xfrm>
            <a:off x="2352907" y="3245007"/>
            <a:ext cx="814039" cy="189571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FD52DAC-91D1-5C00-407F-D98A7B8947B6}"/>
              </a:ext>
            </a:extLst>
          </p:cNvPr>
          <p:cNvSpPr/>
          <p:nvPr/>
        </p:nvSpPr>
        <p:spPr>
          <a:xfrm>
            <a:off x="3609278" y="3225076"/>
            <a:ext cx="814039" cy="189571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0FF85A4-2A90-79B2-C186-468A663B2594}"/>
              </a:ext>
            </a:extLst>
          </p:cNvPr>
          <p:cNvSpPr/>
          <p:nvPr/>
        </p:nvSpPr>
        <p:spPr>
          <a:xfrm>
            <a:off x="8231361" y="3456880"/>
            <a:ext cx="814039" cy="189571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713AB739-12CF-0ADC-AF5F-C28D1BC60BE7}"/>
              </a:ext>
            </a:extLst>
          </p:cNvPr>
          <p:cNvSpPr/>
          <p:nvPr/>
        </p:nvSpPr>
        <p:spPr>
          <a:xfrm>
            <a:off x="9498884" y="3456880"/>
            <a:ext cx="814039" cy="189571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103B96C-CE5C-AA65-C9B2-B2ACA87680FB}"/>
              </a:ext>
            </a:extLst>
          </p:cNvPr>
          <p:cNvSpPr txBox="1"/>
          <p:nvPr/>
        </p:nvSpPr>
        <p:spPr>
          <a:xfrm>
            <a:off x="1757224" y="6534436"/>
            <a:ext cx="1035018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600" i="1" dirty="0"/>
              <a:t> Marston NA, Bergmark BA et al. N Engl J Med 2026;394:429–441</a:t>
            </a:r>
          </a:p>
        </p:txBody>
      </p:sp>
    </p:spTree>
    <p:extLst>
      <p:ext uri="{BB962C8B-B14F-4D97-AF65-F5344CB8AC3E}">
        <p14:creationId xmlns:p14="http://schemas.microsoft.com/office/powerpoint/2010/main" val="12068793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01F5E9-B2E8-B91A-9ACA-A9441A0CDE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24629D9-B333-F973-C9C9-1159B71D3F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3AA74992-213F-7E26-9751-B4507DA5A7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AF81A3CE-6BC8-4B3D-9F8A-7DBC2FE0157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2C5991-DB3B-71F5-40D3-7D9E387E4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–TIMI 72a &amp; CORE2–TIMI 72b</a:t>
            </a:r>
            <a:br>
              <a:rPr lang="en-US" dirty="0"/>
            </a:br>
            <a:r>
              <a:rPr lang="en-US" sz="2000" i="1" dirty="0">
                <a:solidFill>
                  <a:schemeClr val="bg2"/>
                </a:solidFill>
              </a:rPr>
              <a:t>Secondary endpoint: Acute pancreatitis over 12 months (pooled analysis)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F0E9F8E-BDB7-C052-9914-8526CEAE07B5}"/>
              </a:ext>
            </a:extLst>
          </p:cNvPr>
          <p:cNvGrpSpPr/>
          <p:nvPr/>
        </p:nvGrpSpPr>
        <p:grpSpPr>
          <a:xfrm>
            <a:off x="10904394" y="249888"/>
            <a:ext cx="704022" cy="363195"/>
            <a:chOff x="2608796" y="637665"/>
            <a:chExt cx="919922" cy="492924"/>
          </a:xfrm>
        </p:grpSpPr>
        <p:pic>
          <p:nvPicPr>
            <p:cNvPr id="14" name="Picture 13" descr="A logo with a letter and a swirly design&#10;&#10;AI-generated content may be incorrect.">
              <a:extLst>
                <a:ext uri="{FF2B5EF4-FFF2-40B4-BE49-F238E27FC236}">
                  <a16:creationId xmlns:a16="http://schemas.microsoft.com/office/drawing/2014/main" id="{364EF6EA-B19E-EC7F-B208-9F414D5D729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08796" y="889066"/>
              <a:ext cx="919922" cy="241523"/>
            </a:xfrm>
            <a:prstGeom prst="rect">
              <a:avLst/>
            </a:prstGeom>
          </p:spPr>
        </p:pic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70587F75-8F24-7EBF-4E74-C9D997C2249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>
            <a:xfrm>
              <a:off x="2621984" y="637665"/>
              <a:ext cx="768676" cy="219905"/>
            </a:xfrm>
            <a:prstGeom prst="rect">
              <a:avLst/>
            </a:prstGeom>
          </p:spPr>
        </p:pic>
      </p:grpSp>
      <p:pic>
        <p:nvPicPr>
          <p:cNvPr id="16" name="Picture Placeholder 7" descr="A red and black logo&#10;&#10;AI-generated content may be incorrect.">
            <a:extLst>
              <a:ext uri="{FF2B5EF4-FFF2-40B4-BE49-F238E27FC236}">
                <a16:creationId xmlns:a16="http://schemas.microsoft.com/office/drawing/2014/main" id="{C4E070FF-6697-BFC9-3443-611E9132EFCB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-20638" t="-6021" r="-23377" b="-2381"/>
          <a:stretch>
            <a:fillRect/>
          </a:stretch>
        </p:blipFill>
        <p:spPr>
          <a:xfrm>
            <a:off x="11550650" y="6906"/>
            <a:ext cx="556760" cy="686963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A0D4407A-FAF8-6AB4-A287-E1C8B28E6C8E}"/>
              </a:ext>
            </a:extLst>
          </p:cNvPr>
          <p:cNvSpPr txBox="1"/>
          <p:nvPr/>
        </p:nvSpPr>
        <p:spPr>
          <a:xfrm>
            <a:off x="1330258" y="5705736"/>
            <a:ext cx="97097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Olezarsen reduced the rate of acute pancreatitis by </a:t>
            </a:r>
            <a:r>
              <a:rPr lang="en-US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5%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, compared to placebo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81423DC-40EA-27EE-A22F-B758366C045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09800" y="1576699"/>
            <a:ext cx="7772400" cy="3704601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8BF76AF-FAC6-67AE-E921-A924AF34EAAA}"/>
              </a:ext>
            </a:extLst>
          </p:cNvPr>
          <p:cNvSpPr txBox="1"/>
          <p:nvPr/>
        </p:nvSpPr>
        <p:spPr>
          <a:xfrm>
            <a:off x="1757224" y="6519446"/>
            <a:ext cx="1035018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600" i="1" dirty="0"/>
              <a:t> Marston NA, Bergmark BA et al. N Engl J Med 2026;394:429–441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5DC7254-346D-9F7C-0D65-9F1591EE3FF9}"/>
              </a:ext>
            </a:extLst>
          </p:cNvPr>
          <p:cNvSpPr txBox="1"/>
          <p:nvPr/>
        </p:nvSpPr>
        <p:spPr>
          <a:xfrm>
            <a:off x="2590802" y="5307513"/>
            <a:ext cx="910682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Abbreviations: ARR, absolute risk reduction; NNT, number needed to treat; RR, rate ratio</a:t>
            </a:r>
          </a:p>
        </p:txBody>
      </p:sp>
    </p:spTree>
    <p:extLst>
      <p:ext uri="{BB962C8B-B14F-4D97-AF65-F5344CB8AC3E}">
        <p14:creationId xmlns:p14="http://schemas.microsoft.com/office/powerpoint/2010/main" val="39407650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3C16B8-4E00-02B6-83BB-37CA3CB14A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3228E623-3F53-489D-0688-571DCB9EC6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8E90BD7-B8FB-314F-BEAC-CDE8AF7F70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F6CA3A65-F46C-68FE-D36A-F47DCD1C67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044B97-5D51-F6AA-D751-3FBAB8ADC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 &amp; Objectives</a:t>
            </a:r>
            <a:br>
              <a:rPr lang="en-US" dirty="0"/>
            </a:br>
            <a:r>
              <a:rPr lang="en-US" sz="2000" i="1" dirty="0">
                <a:solidFill>
                  <a:schemeClr val="bg2"/>
                </a:solidFill>
              </a:rPr>
              <a:t>sHTG &amp; DM</a:t>
            </a:r>
            <a:endParaRPr lang="en-US" sz="2000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E6E4630-F7CE-E0EB-DD9D-E02BE3D7DF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2950" y="1412197"/>
            <a:ext cx="11126125" cy="4896897"/>
          </a:xfrm>
        </p:spPr>
        <p:txBody>
          <a:bodyPr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600" dirty="0"/>
              <a:t>Insulin resistance, a hallmark of type 2 diabetes mellitus (DM), is a common non-genetic driver of TG dysregulation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600" dirty="0"/>
              <a:t>Both </a:t>
            </a:r>
            <a:r>
              <a:rPr lang="en-US" sz="2600" b="1" dirty="0"/>
              <a:t>sHTG &amp; DM </a:t>
            </a:r>
            <a:r>
              <a:rPr lang="en-US" sz="2600" dirty="0"/>
              <a:t>are independently associated with high risk for </a:t>
            </a:r>
            <a:r>
              <a:rPr lang="en-US" sz="2600" b="1" dirty="0"/>
              <a:t>acute pancreatitis (AP), </a:t>
            </a:r>
            <a:r>
              <a:rPr lang="en-US" sz="2600" dirty="0"/>
              <a:t>a potentially life-threatening complication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600" dirty="0"/>
              <a:t>Therefore, patients with sHTG &amp; DM represent a particularly high-risk subgroup</a:t>
            </a:r>
          </a:p>
          <a:p>
            <a:pPr marL="804863" lvl="1" indent="-342900">
              <a:spcBef>
                <a:spcPts val="600"/>
              </a:spcBef>
            </a:pPr>
            <a:r>
              <a:rPr lang="en-US" sz="2400" dirty="0"/>
              <a:t>Conventional TG-lowering therapies may not be sufficient to address the risk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ACBE0E-5F82-7503-A194-720E5BB3B551}"/>
              </a:ext>
            </a:extLst>
          </p:cNvPr>
          <p:cNvSpPr txBox="1"/>
          <p:nvPr/>
        </p:nvSpPr>
        <p:spPr>
          <a:xfrm>
            <a:off x="952500" y="6299099"/>
            <a:ext cx="1112612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600" i="1" dirty="0"/>
              <a:t> </a:t>
            </a:r>
            <a:r>
              <a:rPr lang="en-US" sz="1600" i="1" dirty="0" err="1"/>
              <a:t>Mechanick</a:t>
            </a:r>
            <a:r>
              <a:rPr lang="en-US" sz="1600" i="1" dirty="0"/>
              <a:t> JI et al. J Am Coll </a:t>
            </a:r>
            <a:r>
              <a:rPr lang="en-US" sz="1600" i="1" dirty="0" err="1"/>
              <a:t>Cardiol</a:t>
            </a:r>
            <a:r>
              <a:rPr lang="en-US" sz="1600" i="1" dirty="0"/>
              <a:t> 2020;75:525–538</a:t>
            </a:r>
          </a:p>
          <a:p>
            <a:pPr algn="r"/>
            <a:r>
              <a:rPr lang="en-US" sz="1600" i="1" dirty="0"/>
              <a:t>Girman CJ et al. Diabetes </a:t>
            </a:r>
            <a:r>
              <a:rPr lang="en-US" sz="1600" i="1" dirty="0" err="1"/>
              <a:t>Obes</a:t>
            </a:r>
            <a:r>
              <a:rPr lang="en-US" sz="1600" i="1" dirty="0"/>
              <a:t> </a:t>
            </a:r>
            <a:r>
              <a:rPr lang="en-US" sz="1600" i="1" dirty="0" err="1"/>
              <a:t>Metab</a:t>
            </a:r>
            <a:r>
              <a:rPr lang="en-US" sz="1600" i="1" dirty="0"/>
              <a:t> 2010;12:766–771 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19C8AA9-9123-9BB4-3731-95AFA6A8E432}"/>
              </a:ext>
            </a:extLst>
          </p:cNvPr>
          <p:cNvGrpSpPr/>
          <p:nvPr/>
        </p:nvGrpSpPr>
        <p:grpSpPr>
          <a:xfrm>
            <a:off x="10904394" y="249888"/>
            <a:ext cx="704022" cy="363195"/>
            <a:chOff x="2608796" y="637665"/>
            <a:chExt cx="919922" cy="492924"/>
          </a:xfrm>
        </p:grpSpPr>
        <p:pic>
          <p:nvPicPr>
            <p:cNvPr id="6" name="Picture 5" descr="A logo with a letter and a swirly design&#10;&#10;AI-generated content may be incorrect.">
              <a:extLst>
                <a:ext uri="{FF2B5EF4-FFF2-40B4-BE49-F238E27FC236}">
                  <a16:creationId xmlns:a16="http://schemas.microsoft.com/office/drawing/2014/main" id="{DBC31B14-4D3F-DD76-C14B-60E12DB5CAF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08796" y="889066"/>
              <a:ext cx="919922" cy="241523"/>
            </a:xfrm>
            <a:prstGeom prst="rect">
              <a:avLst/>
            </a:prstGeom>
          </p:spPr>
        </p:pic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3F79AA0D-F27C-CBFF-C570-786EB039EFD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>
            <a:xfrm>
              <a:off x="2621984" y="637665"/>
              <a:ext cx="768676" cy="219905"/>
            </a:xfrm>
            <a:prstGeom prst="rect">
              <a:avLst/>
            </a:prstGeom>
          </p:spPr>
        </p:pic>
      </p:grpSp>
      <p:pic>
        <p:nvPicPr>
          <p:cNvPr id="9" name="Picture Placeholder 7" descr="A red and black logo&#10;&#10;AI-generated content may be incorrect.">
            <a:extLst>
              <a:ext uri="{FF2B5EF4-FFF2-40B4-BE49-F238E27FC236}">
                <a16:creationId xmlns:a16="http://schemas.microsoft.com/office/drawing/2014/main" id="{0FB61F8B-499D-AD98-7BB4-7241FDA8D1E6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-20638" t="-6021" r="-23377" b="-2381"/>
          <a:stretch>
            <a:fillRect/>
          </a:stretch>
        </p:blipFill>
        <p:spPr>
          <a:xfrm>
            <a:off x="11550650" y="6906"/>
            <a:ext cx="556760" cy="686963"/>
          </a:xfrm>
          <a:prstGeom prst="rect">
            <a:avLst/>
          </a:prstGeom>
        </p:spPr>
      </p:pic>
      <p:sp>
        <p:nvSpPr>
          <p:cNvPr id="10" name="사각형: 둥근 모서리 5">
            <a:extLst>
              <a:ext uri="{FF2B5EF4-FFF2-40B4-BE49-F238E27FC236}">
                <a16:creationId xmlns:a16="http://schemas.microsoft.com/office/drawing/2014/main" id="{F23BDA88-C249-7C5B-7D01-2CBB3AF18E87}"/>
              </a:ext>
            </a:extLst>
          </p:cNvPr>
          <p:cNvSpPr/>
          <p:nvPr/>
        </p:nvSpPr>
        <p:spPr>
          <a:xfrm>
            <a:off x="1141301" y="4405227"/>
            <a:ext cx="10361459" cy="1315844"/>
          </a:xfrm>
          <a:prstGeom prst="roundRect">
            <a:avLst/>
          </a:prstGeom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3200" b="1" dirty="0"/>
              <a:t>We aimed to evaluate the efficacy &amp; safety of olezarsen </a:t>
            </a:r>
          </a:p>
          <a:p>
            <a:pPr algn="ctr"/>
            <a:r>
              <a:rPr lang="en-US" altLang="ko-KR" sz="3200" b="1" dirty="0"/>
              <a:t>in adults with sHTG &amp; DM</a:t>
            </a:r>
          </a:p>
        </p:txBody>
      </p:sp>
    </p:spTree>
    <p:extLst>
      <p:ext uri="{BB962C8B-B14F-4D97-AF65-F5344CB8AC3E}">
        <p14:creationId xmlns:p14="http://schemas.microsoft.com/office/powerpoint/2010/main" val="3918467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1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FD735B-CD50-437F-30F4-24B1AB2ECA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D6E69D0-448F-A9D1-95B6-B2B76720B4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E001145-CD64-84BB-E67B-B0E9387CB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8FE0AFC0-D432-175A-5CF5-0677B244C0E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F69B69-4BC3-162B-95C4-4CDF099F4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10EB3E3-621D-456F-1647-DB7BF028C7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2951" y="1267234"/>
            <a:ext cx="11210924" cy="4896897"/>
          </a:xfrm>
        </p:spPr>
        <p:txBody>
          <a:bodyPr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Modified intention-to-treat population (≥1 dose study medication)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Baseline </a:t>
            </a:r>
            <a:r>
              <a:rPr lang="en-US" sz="2800"/>
              <a:t>DM was defined </a:t>
            </a:r>
            <a:r>
              <a:rPr lang="en-US" sz="2800" dirty="0"/>
              <a:t>as at least one of:</a:t>
            </a:r>
          </a:p>
          <a:p>
            <a:pPr marL="804863" lvl="1" indent="-342900">
              <a:spcBef>
                <a:spcPts val="600"/>
              </a:spcBef>
            </a:pPr>
            <a:r>
              <a:rPr lang="en-US" sz="2400" dirty="0"/>
              <a:t>Investigator-reported history of DM (dedicated eCRF field)</a:t>
            </a:r>
          </a:p>
          <a:p>
            <a:pPr marL="804863" lvl="1" indent="-342900">
              <a:spcBef>
                <a:spcPts val="600"/>
              </a:spcBef>
            </a:pPr>
            <a:r>
              <a:rPr lang="en-US" sz="2400" dirty="0"/>
              <a:t>HbA1c ≥6.5% </a:t>
            </a:r>
          </a:p>
          <a:p>
            <a:pPr marL="804863" lvl="1" indent="-342900">
              <a:spcBef>
                <a:spcPts val="600"/>
              </a:spcBef>
            </a:pPr>
            <a:r>
              <a:rPr lang="en-US" sz="2400" dirty="0"/>
              <a:t>Use of glucose-lowering medications in the absence of a non-DM indication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Changes in fasting lipid and glycemic parameters at </a:t>
            </a:r>
            <a:r>
              <a:rPr lang="en-US" sz="2800" u="sng" dirty="0"/>
              <a:t>6 months</a:t>
            </a:r>
            <a:r>
              <a:rPr lang="en-US" sz="2800" dirty="0"/>
              <a:t> were assessed using an analysis of covariance (ANCOVA) model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Centrally adjudicated AP events </a:t>
            </a:r>
            <a:r>
              <a:rPr lang="en-US" sz="2800" u="sng" dirty="0"/>
              <a:t>over 12 months</a:t>
            </a:r>
            <a:r>
              <a:rPr lang="en-US" sz="2800" dirty="0"/>
              <a:t> were compared between pooled olezarsen treatment and placebo groups using a negative binomial regression model</a:t>
            </a:r>
            <a:endParaRPr lang="en-US" altLang="ko-KR" sz="28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D7508A8-F553-68F0-719B-06B5F1A89A65}"/>
              </a:ext>
            </a:extLst>
          </p:cNvPr>
          <p:cNvGrpSpPr/>
          <p:nvPr/>
        </p:nvGrpSpPr>
        <p:grpSpPr>
          <a:xfrm>
            <a:off x="10904394" y="249888"/>
            <a:ext cx="704022" cy="363195"/>
            <a:chOff x="2608796" y="637665"/>
            <a:chExt cx="919922" cy="492924"/>
          </a:xfrm>
        </p:grpSpPr>
        <p:pic>
          <p:nvPicPr>
            <p:cNvPr id="6" name="Picture 5" descr="A logo with a letter and a swirly design&#10;&#10;AI-generated content may be incorrect.">
              <a:extLst>
                <a:ext uri="{FF2B5EF4-FFF2-40B4-BE49-F238E27FC236}">
                  <a16:creationId xmlns:a16="http://schemas.microsoft.com/office/drawing/2014/main" id="{CA277048-78A2-33D3-2D90-6C357DFA881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08796" y="889066"/>
              <a:ext cx="919922" cy="241523"/>
            </a:xfrm>
            <a:prstGeom prst="rect">
              <a:avLst/>
            </a:prstGeom>
          </p:spPr>
        </p:pic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0BDCD28D-BA4D-04F5-D966-86D59FD5FB8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>
            <a:xfrm>
              <a:off x="2621984" y="637665"/>
              <a:ext cx="768676" cy="219905"/>
            </a:xfrm>
            <a:prstGeom prst="rect">
              <a:avLst/>
            </a:prstGeom>
          </p:spPr>
        </p:pic>
      </p:grpSp>
      <p:pic>
        <p:nvPicPr>
          <p:cNvPr id="8" name="Picture Placeholder 7" descr="A red and black logo&#10;&#10;AI-generated content may be incorrect.">
            <a:extLst>
              <a:ext uri="{FF2B5EF4-FFF2-40B4-BE49-F238E27FC236}">
                <a16:creationId xmlns:a16="http://schemas.microsoft.com/office/drawing/2014/main" id="{0C4B3155-7036-01C9-63D7-96E154AA7A31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-20638" t="-6021" r="-23377" b="-2381"/>
          <a:stretch>
            <a:fillRect/>
          </a:stretch>
        </p:blipFill>
        <p:spPr>
          <a:xfrm>
            <a:off x="11550650" y="6906"/>
            <a:ext cx="556760" cy="686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8745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3532C2-4B44-7D20-CD0D-6DA912FA34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BF855375-9FE2-DD96-7CCB-C1FD0BD155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D6E69D0-448F-A9D1-95B6-B2B76720B4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F83CE774-4A14-1A79-8784-3F22E613831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A99593-2269-9BE5-8FCC-C6B83FC797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eline Characteristics</a:t>
            </a:r>
            <a:br>
              <a:rPr lang="en-US" dirty="0"/>
            </a:br>
            <a:r>
              <a:rPr lang="en-US" sz="2000" i="1" dirty="0">
                <a:solidFill>
                  <a:schemeClr val="bg2"/>
                </a:solidFill>
              </a:rPr>
              <a:t>DM vs No DM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1C6E7AC-570F-19FF-3052-53A50F44E2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1060148"/>
              </p:ext>
            </p:extLst>
          </p:nvPr>
        </p:nvGraphicFramePr>
        <p:xfrm>
          <a:off x="641351" y="1506088"/>
          <a:ext cx="5585830" cy="4142363"/>
        </p:xfrm>
        <a:graphic>
          <a:graphicData uri="http://schemas.openxmlformats.org/drawingml/2006/table">
            <a:tbl>
              <a:tblPr firstRow="1" firstCol="1" bandRow="1"/>
              <a:tblGrid>
                <a:gridCol w="2867249">
                  <a:extLst>
                    <a:ext uri="{9D8B030D-6E8A-4147-A177-3AD203B41FA5}">
                      <a16:colId xmlns:a16="http://schemas.microsoft.com/office/drawing/2014/main" val="2333109912"/>
                    </a:ext>
                  </a:extLst>
                </a:gridCol>
                <a:gridCol w="1497933">
                  <a:extLst>
                    <a:ext uri="{9D8B030D-6E8A-4147-A177-3AD203B41FA5}">
                      <a16:colId xmlns:a16="http://schemas.microsoft.com/office/drawing/2014/main" val="2888308631"/>
                    </a:ext>
                  </a:extLst>
                </a:gridCol>
                <a:gridCol w="1220648">
                  <a:extLst>
                    <a:ext uri="{9D8B030D-6E8A-4147-A177-3AD203B41FA5}">
                      <a16:colId xmlns:a16="http://schemas.microsoft.com/office/drawing/2014/main" val="1421365057"/>
                    </a:ext>
                  </a:extLst>
                </a:gridCol>
              </a:tblGrid>
              <a:tr h="591767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haracteristic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M</a:t>
                      </a:r>
                      <a:b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N=689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o DM </a:t>
                      </a:r>
                      <a:b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N=372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7049502"/>
                  </a:ext>
                </a:extLst>
              </a:tr>
              <a:tr h="295883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ge (years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6</a:t>
                      </a: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7887878"/>
                  </a:ext>
                </a:extLst>
              </a:tr>
              <a:tr h="295883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ema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7.6%</a:t>
                      </a: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6.1%</a:t>
                      </a: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3510680"/>
                  </a:ext>
                </a:extLst>
              </a:tr>
              <a:tr h="295883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ody mass index (kg/m</a:t>
                      </a:r>
                      <a:r>
                        <a:rPr lang="en-US" sz="1600" b="1" baseline="30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1.6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0.3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9567099"/>
                  </a:ext>
                </a:extLst>
              </a:tr>
              <a:tr h="295883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istory of ASCVD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0.3%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6.9%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4449058"/>
                  </a:ext>
                </a:extLst>
              </a:tr>
              <a:tr h="295883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istory of pancreatitis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1.5%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4.0%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2059642"/>
                  </a:ext>
                </a:extLst>
              </a:tr>
              <a:tr h="295883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ipid-lowering therapy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9885037"/>
                  </a:ext>
                </a:extLst>
              </a:tr>
              <a:tr h="295883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 Statin</a:t>
                      </a: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0.0%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2.6%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6381027"/>
                  </a:ext>
                </a:extLst>
              </a:tr>
              <a:tr h="295883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 On ≥2 lipid-lowering therapy</a:t>
                      </a: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7.6%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.8%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6508663"/>
                  </a:ext>
                </a:extLst>
              </a:tr>
              <a:tr h="295883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asting laboratory results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316211"/>
                  </a:ext>
                </a:extLst>
              </a:tr>
              <a:tr h="295883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 Triglycerides (mg/dL)</a:t>
                      </a: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79.0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23.5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3558558"/>
                  </a:ext>
                </a:extLst>
              </a:tr>
              <a:tr h="295883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 </a:t>
                      </a:r>
                      <a:r>
                        <a:rPr lang="en-US" sz="1600" b="0" dirty="0" err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poC</a:t>
                      </a: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III (mg/dL)</a:t>
                      </a: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5.2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2.9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560336"/>
                  </a:ext>
                </a:extLst>
              </a:tr>
              <a:tr h="295883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 eGFR (ml/min/1.73 m</a:t>
                      </a:r>
                      <a:r>
                        <a:rPr lang="en-US" sz="1600" b="0" baseline="30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3.0 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9.0 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567855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1EC93054-2E1D-B6F5-43D5-255D59BBEA9E}"/>
              </a:ext>
            </a:extLst>
          </p:cNvPr>
          <p:cNvSpPr txBox="1"/>
          <p:nvPr/>
        </p:nvSpPr>
        <p:spPr>
          <a:xfrm>
            <a:off x="529748" y="5708873"/>
            <a:ext cx="974757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38700" indent="0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All comparisons between subgroup had P&lt;0.05 except baseline TG level</a:t>
            </a:r>
            <a:endParaRPr lang="en-US" sz="1200" i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A65BCAA-58EB-DAFC-A034-8C1BADA8EF59}"/>
              </a:ext>
            </a:extLst>
          </p:cNvPr>
          <p:cNvGrpSpPr/>
          <p:nvPr/>
        </p:nvGrpSpPr>
        <p:grpSpPr>
          <a:xfrm>
            <a:off x="10904394" y="249888"/>
            <a:ext cx="704022" cy="363195"/>
            <a:chOff x="2608796" y="637665"/>
            <a:chExt cx="919922" cy="492924"/>
          </a:xfrm>
        </p:grpSpPr>
        <p:pic>
          <p:nvPicPr>
            <p:cNvPr id="5" name="Picture 4" descr="A logo with a letter and a swirly design&#10;&#10;AI-generated content may be incorrect.">
              <a:extLst>
                <a:ext uri="{FF2B5EF4-FFF2-40B4-BE49-F238E27FC236}">
                  <a16:creationId xmlns:a16="http://schemas.microsoft.com/office/drawing/2014/main" id="{55643905-DFF2-D68E-2B6B-AD02CCF3946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08796" y="889066"/>
              <a:ext cx="919922" cy="241523"/>
            </a:xfrm>
            <a:prstGeom prst="rect">
              <a:avLst/>
            </a:prstGeom>
          </p:spPr>
        </p:pic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EF689712-B89A-E225-5438-55549D51696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>
            <a:xfrm>
              <a:off x="2621984" y="637665"/>
              <a:ext cx="768676" cy="219905"/>
            </a:xfrm>
            <a:prstGeom prst="rect">
              <a:avLst/>
            </a:prstGeom>
          </p:spPr>
        </p:pic>
      </p:grpSp>
      <p:pic>
        <p:nvPicPr>
          <p:cNvPr id="7" name="Picture Placeholder 7" descr="A red and black logo&#10;&#10;AI-generated content may be incorrect.">
            <a:extLst>
              <a:ext uri="{FF2B5EF4-FFF2-40B4-BE49-F238E27FC236}">
                <a16:creationId xmlns:a16="http://schemas.microsoft.com/office/drawing/2014/main" id="{01A4525E-E964-5EEB-8339-C093E00D057A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-20638" t="-6021" r="-23377" b="-2381"/>
          <a:stretch>
            <a:fillRect/>
          </a:stretch>
        </p:blipFill>
        <p:spPr>
          <a:xfrm>
            <a:off x="11550650" y="6906"/>
            <a:ext cx="556760" cy="686963"/>
          </a:xfrm>
          <a:prstGeom prst="rect">
            <a:avLst/>
          </a:prstGeom>
        </p:spPr>
      </p:pic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A4C5082-F578-DD7D-7596-CC732E99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56021"/>
              </p:ext>
            </p:extLst>
          </p:nvPr>
        </p:nvGraphicFramePr>
        <p:xfrm>
          <a:off x="6967956" y="1498182"/>
          <a:ext cx="4641152" cy="4201992"/>
        </p:xfrm>
        <a:graphic>
          <a:graphicData uri="http://schemas.openxmlformats.org/drawingml/2006/table">
            <a:tbl>
              <a:tblPr firstRow="1" firstCol="1" bandRow="1"/>
              <a:tblGrid>
                <a:gridCol w="3048519">
                  <a:extLst>
                    <a:ext uri="{9D8B030D-6E8A-4147-A177-3AD203B41FA5}">
                      <a16:colId xmlns:a16="http://schemas.microsoft.com/office/drawing/2014/main" val="2333109912"/>
                    </a:ext>
                  </a:extLst>
                </a:gridCol>
                <a:gridCol w="1592633">
                  <a:extLst>
                    <a:ext uri="{9D8B030D-6E8A-4147-A177-3AD203B41FA5}">
                      <a16:colId xmlns:a16="http://schemas.microsoft.com/office/drawing/2014/main" val="2888308631"/>
                    </a:ext>
                  </a:extLst>
                </a:gridCol>
              </a:tblGrid>
              <a:tr h="646462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haracteristic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M </a:t>
                      </a:r>
                    </a:p>
                    <a:p>
                      <a:pPr marL="0" marR="0" algn="ctr">
                        <a:buNone/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N=689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7049502"/>
                  </a:ext>
                </a:extLst>
              </a:tr>
              <a:tr h="323230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lucose-lowering medications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endParaRPr lang="en-US" sz="16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3461" marR="33461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7887878"/>
                  </a:ext>
                </a:extLst>
              </a:tr>
              <a:tr h="323230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 Insulin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6.0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3510680"/>
                  </a:ext>
                </a:extLst>
              </a:tr>
              <a:tr h="323230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    Basal insulin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2.7%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9567099"/>
                  </a:ext>
                </a:extLst>
              </a:tr>
              <a:tr h="323230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    Rapid-acting insulin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2.1%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4449058"/>
                  </a:ext>
                </a:extLst>
              </a:tr>
              <a:tr h="323230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 GLP-1 receptor agonist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4.1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2059642"/>
                  </a:ext>
                </a:extLst>
              </a:tr>
              <a:tr h="323230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 DPP-4 inhibitor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2.0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9885037"/>
                  </a:ext>
                </a:extLst>
              </a:tr>
              <a:tr h="323230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 Sulfonylureas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.8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6381027"/>
                  </a:ext>
                </a:extLst>
              </a:tr>
              <a:tr h="323230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 Meglitinides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9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6508663"/>
                  </a:ext>
                </a:extLst>
              </a:tr>
              <a:tr h="323230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 Metformin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0.0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316211"/>
                  </a:ext>
                </a:extLst>
              </a:tr>
              <a:tr h="323230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 SGLT-2 inhibitor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7.3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3558558"/>
                  </a:ext>
                </a:extLst>
              </a:tr>
              <a:tr h="323230">
                <a:tc>
                  <a:txBody>
                    <a:bodyPr/>
                    <a:lstStyle/>
                    <a:p>
                      <a:pPr marL="0" marR="0">
                        <a:buNone/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 Thiazolidinediones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.6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560336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0D317339-FFA7-1219-1A15-F0FD8AE66796}"/>
              </a:ext>
            </a:extLst>
          </p:cNvPr>
          <p:cNvSpPr txBox="1"/>
          <p:nvPr/>
        </p:nvSpPr>
        <p:spPr>
          <a:xfrm>
            <a:off x="1219035" y="6115098"/>
            <a:ext cx="9747579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38700" indent="0" algn="ctr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400" i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ous variables are presented as the median, and categorical variables are expressed as</a:t>
            </a:r>
            <a:r>
              <a:rPr lang="ko-KR" altLang="en-US" sz="1400" i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1400" i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rtions</a:t>
            </a:r>
            <a:r>
              <a:rPr lang="ko-KR" altLang="en-US" sz="1400" i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1400" i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%)</a:t>
            </a:r>
            <a:r>
              <a:rPr lang="en-US" sz="1400" i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9683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DA2AC7-4215-2FA2-0381-0525A070BE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A3E0D1B-8A77-2C6C-627D-4AEFAB5842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A4369A69-F278-F453-BCAC-AAAB62B52E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CD4C883C-3837-4A8B-5EF4-68B08AE8EB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6E0EF7-9E57-C49E-9DC6-88DEDA9FF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G-Lowering Efficacy of Olezarsen by Baseline DM </a:t>
            </a:r>
            <a:br>
              <a:rPr lang="en-US" dirty="0"/>
            </a:br>
            <a:r>
              <a:rPr lang="en-US" sz="2000" i="1" dirty="0">
                <a:solidFill>
                  <a:schemeClr val="bg2"/>
                </a:solidFill>
              </a:rPr>
              <a:t>At 6 months</a:t>
            </a:r>
            <a:endParaRPr lang="en-US" i="1" dirty="0">
              <a:solidFill>
                <a:schemeClr val="bg2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2AEF732-33B8-C535-488C-4667386D0306}"/>
              </a:ext>
            </a:extLst>
          </p:cNvPr>
          <p:cNvGrpSpPr/>
          <p:nvPr/>
        </p:nvGrpSpPr>
        <p:grpSpPr>
          <a:xfrm>
            <a:off x="10904394" y="249888"/>
            <a:ext cx="704022" cy="363195"/>
            <a:chOff x="2608796" y="637665"/>
            <a:chExt cx="919922" cy="492924"/>
          </a:xfrm>
        </p:grpSpPr>
        <p:pic>
          <p:nvPicPr>
            <p:cNvPr id="9" name="Picture 8" descr="A logo with a letter and a swirly design&#10;&#10;AI-generated content may be incorrect.">
              <a:extLst>
                <a:ext uri="{FF2B5EF4-FFF2-40B4-BE49-F238E27FC236}">
                  <a16:creationId xmlns:a16="http://schemas.microsoft.com/office/drawing/2014/main" id="{382219F4-F1B4-F063-8102-343CCCBFA5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08796" y="889066"/>
              <a:ext cx="919922" cy="241523"/>
            </a:xfrm>
            <a:prstGeom prst="rect">
              <a:avLst/>
            </a:prstGeom>
          </p:spPr>
        </p:pic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852A355B-ACA6-929A-061E-8834CAB3725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>
            <a:xfrm>
              <a:off x="2621984" y="637665"/>
              <a:ext cx="768676" cy="219905"/>
            </a:xfrm>
            <a:prstGeom prst="rect">
              <a:avLst/>
            </a:prstGeom>
          </p:spPr>
        </p:pic>
      </p:grpSp>
      <p:pic>
        <p:nvPicPr>
          <p:cNvPr id="13" name="Picture Placeholder 7" descr="A red and black logo&#10;&#10;AI-generated content may be incorrect.">
            <a:extLst>
              <a:ext uri="{FF2B5EF4-FFF2-40B4-BE49-F238E27FC236}">
                <a16:creationId xmlns:a16="http://schemas.microsoft.com/office/drawing/2014/main" id="{3CFA67E8-F09B-6DB6-CF87-DD7F9426034F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-20638" t="-6021" r="-23377" b="-2381"/>
          <a:stretch>
            <a:fillRect/>
          </a:stretch>
        </p:blipFill>
        <p:spPr>
          <a:xfrm>
            <a:off x="11550650" y="6906"/>
            <a:ext cx="556760" cy="68696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3D9AA57-4220-6B32-6F59-50C9E92C18C7}"/>
              </a:ext>
            </a:extLst>
          </p:cNvPr>
          <p:cNvSpPr txBox="1"/>
          <p:nvPr/>
        </p:nvSpPr>
        <p:spPr>
          <a:xfrm>
            <a:off x="1967196" y="5824870"/>
            <a:ext cx="893719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rror bars indicate 95% confidence intervals; P&lt;0.0001 for all comparisons vs. placebo; </a:t>
            </a: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P-interaction=0.93</a:t>
            </a:r>
          </a:p>
        </p:txBody>
      </p:sp>
      <p:pic>
        <p:nvPicPr>
          <p:cNvPr id="4" name="Picture 3" descr="A graph of different colored squares&#10;&#10;AI-generated content may be incorrect.">
            <a:extLst>
              <a:ext uri="{FF2B5EF4-FFF2-40B4-BE49-F238E27FC236}">
                <a16:creationId xmlns:a16="http://schemas.microsoft.com/office/drawing/2014/main" id="{09C605A2-CCD1-DE41-9FD0-8171B86B639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17725" y="1393982"/>
            <a:ext cx="7772400" cy="4341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5386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HPAw3kJRIbJLXsXi3E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HPAw3kJRIbJLXsXi3EQ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HPAw3kJRIbJLXsXi3E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HPAw3kJRIbJLXsXi3E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HPAw3kJRIbJLXsXi3E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HPAw3kJRIbJLXsXi3E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HPAw3kJRIbJLXsXi3E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HPAw3kJRIbJLXsXi3E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HPAw3kJRIbJLXsXi3E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HPAw3kJRIbJLXsXi3E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HPAw3kJRIbJLXsXi3E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HPAw3kJRIbJLXsXi3E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HPAw3kJRIbJLXsXi3E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HPAw3kJRIbJLXsXi3E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GB_standard_template_022021" id="{D73F0B1C-26EB-3F44-8AE0-474B42F0F61E}" vid="{68716181-CC01-2345-AB9B-FFE4016E16B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ypercalcemia_9_29_21_ George Stamatiades</Template>
  <TotalTime>37811</TotalTime>
  <Words>1330</Words>
  <Application>Microsoft Office PowerPoint</Application>
  <PresentationFormat>Widescreen</PresentationFormat>
  <Paragraphs>185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Georgia</vt:lpstr>
      <vt:lpstr>System Font Regular</vt:lpstr>
      <vt:lpstr>Wingdings</vt:lpstr>
      <vt:lpstr>MGB_standard_template_082020</vt:lpstr>
      <vt:lpstr>think-cell Slide</vt:lpstr>
      <vt:lpstr>PowerPoint Presentation</vt:lpstr>
      <vt:lpstr>Background sHTG, APOC3, &amp; olezarsen</vt:lpstr>
      <vt:lpstr>CORE–TIMI 72a &amp; CORE2–TIMI 72b Study design (identical)</vt:lpstr>
      <vt:lpstr>CORE–TIMI 72a &amp; CORE2–TIMI 72b Primary endpoint: placebo-adjusted % change in TG at 6 months from baseline</vt:lpstr>
      <vt:lpstr>CORE–TIMI 72a &amp; CORE2–TIMI 72b Secondary endpoint: Acute pancreatitis over 12 months (pooled analysis)</vt:lpstr>
      <vt:lpstr>Background &amp; Objectives sHTG &amp; DM</vt:lpstr>
      <vt:lpstr>Methods</vt:lpstr>
      <vt:lpstr>Baseline Characteristics DM vs No DM</vt:lpstr>
      <vt:lpstr>TG-Lowering Efficacy of Olezarsen by Baseline DM  At 6 months</vt:lpstr>
      <vt:lpstr>Efficacy of Olezarsen in Acute Pancreatitis Prevention Total event analysis over 12 months, pooled olezarsen</vt:lpstr>
      <vt:lpstr>Glycemic Impact of Olezarsen by DM Status HbA1c, pooled olezarsen</vt:lpstr>
      <vt:lpstr>Glycemic Impact of Olezarsen by DM Status  Fasting plasma glucose, pooled olezarsen</vt:lpstr>
      <vt:lpstr>Glycemic Impact of Olezarsen by DM Status HOMA-IR, pooled olezarsen</vt:lpstr>
      <vt:lpstr>Limitations</vt:lpstr>
      <vt:lpstr>Summary &amp; Conclus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r slide</dc:title>
  <dc:creator>George Stamatiades</dc:creator>
  <cp:lastModifiedBy>Brennan, Catherine</cp:lastModifiedBy>
  <cp:revision>260</cp:revision>
  <dcterms:created xsi:type="dcterms:W3CDTF">2021-09-26T14:55:53Z</dcterms:created>
  <dcterms:modified xsi:type="dcterms:W3CDTF">2026-06-09T16:20:30Z</dcterms:modified>
</cp:coreProperties>
</file>